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sldIdLst>
    <p:sldId id="270" r:id="rId5"/>
    <p:sldId id="308" r:id="rId6"/>
    <p:sldId id="257" r:id="rId7"/>
    <p:sldId id="258" r:id="rId8"/>
    <p:sldId id="264" r:id="rId9"/>
    <p:sldId id="313" r:id="rId10"/>
    <p:sldId id="311" r:id="rId11"/>
    <p:sldId id="269" r:id="rId12"/>
    <p:sldId id="326" r:id="rId13"/>
    <p:sldId id="327" r:id="rId14"/>
    <p:sldId id="328" r:id="rId15"/>
    <p:sldId id="314" r:id="rId16"/>
    <p:sldId id="317" r:id="rId17"/>
    <p:sldId id="318" r:id="rId18"/>
    <p:sldId id="288" r:id="rId19"/>
    <p:sldId id="322" r:id="rId20"/>
    <p:sldId id="323" r:id="rId21"/>
    <p:sldId id="320" r:id="rId22"/>
    <p:sldId id="324" r:id="rId23"/>
    <p:sldId id="291" r:id="rId2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518" autoAdjust="0"/>
    <p:restoredTop sz="94660"/>
  </p:normalViewPr>
  <p:slideViewPr>
    <p:cSldViewPr snapToGrid="0">
      <p:cViewPr varScale="1">
        <p:scale>
          <a:sx n="43" d="100"/>
          <a:sy n="43" d="100"/>
        </p:scale>
        <p:origin x="84" y="4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ru-RU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/>
          <a:lstStyle/>
          <a:p>
            <a:endParaRPr lang="ru-RU"/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0.10442396341823509"/>
          <c:y val="0.128191"/>
          <c:w val="0.89557603658176488"/>
          <c:h val="0.80823194238435558"/>
        </c:manualLayout>
      </c:layout>
      <c:barChart>
        <c:barDir val="col"/>
        <c:grouping val="clustered"/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Доходы</c:v>
                </c:pt>
              </c:strCache>
            </c:strRef>
          </c:tx>
          <c:spPr>
            <a:solidFill>
              <a:srgbClr val="14CE9F"/>
            </a:solidFill>
            <a:ln w="12700" cap="flat">
              <a:noFill/>
              <a:miter lim="400000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invertIfNegative val="1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numCache>
            </c:numRef>
          </c:cat>
          <c:val>
            <c:numRef>
              <c:f>Sheet1!$B$2:$D$2</c:f>
              <c:numCache>
                <c:formatCode>#,##0</c:formatCode>
                <c:ptCount val="3"/>
                <c:pt idx="0" formatCode="General">
                  <c:v>-850</c:v>
                </c:pt>
                <c:pt idx="1">
                  <c:v>6800</c:v>
                </c:pt>
                <c:pt idx="2">
                  <c:v>2400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w="12700" cap="flat">
                    <a:noFill/>
                    <a:miter lim="400000"/>
                  </a:ln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  <a:scene3d>
                    <a:camera prst="orthographicFront"/>
                    <a:lightRig rig="threePt" dir="t"/>
                  </a:scene3d>
                  <a:sp3d>
                    <a:bevelT/>
                  </a:sp3d>
                </c14:spPr>
              </c14:invertSolidFillFmt>
            </c:ext>
            <c:ext xmlns:c16="http://schemas.microsoft.com/office/drawing/2014/chart" uri="{C3380CC4-5D6E-409C-BE32-E72D297353CC}">
              <c16:uniqueId val="{00000000-5DF9-42A2-88F7-2D0C8E0593A4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spPr>
            <a:solidFill>
              <a:srgbClr val="BBBAC6"/>
            </a:solidFill>
            <a:ln w="12700" cap="flat">
              <a:noFill/>
              <a:miter lim="400000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c:spPr>
          <c:invertIfNegative val="1"/>
          <c:dPt>
            <c:idx val="0"/>
            <c:invertIfNegative val="1"/>
            <c:bubble3D val="0"/>
            <c:spPr>
              <a:solidFill>
                <a:srgbClr val="BBBAC6"/>
              </a:solidFill>
              <a:ln w="12700" cap="flat">
                <a:noFill/>
                <a:miter lim="400000"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  <c:extLst>
              <c:ext xmlns:c16="http://schemas.microsoft.com/office/drawing/2014/chart" uri="{C3380CC4-5D6E-409C-BE32-E72D297353CC}">
                <c16:uniqueId val="{00000000-BF70-4F1F-A476-E957E261F52E}"/>
              </c:ext>
            </c:extLst>
          </c:dPt>
          <c:dPt>
            <c:idx val="1"/>
            <c:invertIfNegative val="1"/>
            <c:bubble3D val="0"/>
            <c:spPr>
              <a:solidFill>
                <a:srgbClr val="BBBAC6"/>
              </a:solidFill>
              <a:ln w="12700" cap="flat">
                <a:noFill/>
                <a:miter lim="400000"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  <c:extLst>
              <c:ext xmlns:c16="http://schemas.microsoft.com/office/drawing/2014/chart" uri="{C3380CC4-5D6E-409C-BE32-E72D297353CC}">
                <c16:uniqueId val="{00000001-BF70-4F1F-A476-E957E261F52E}"/>
              </c:ext>
            </c:extLst>
          </c:dPt>
          <c:dPt>
            <c:idx val="2"/>
            <c:invertIfNegative val="1"/>
            <c:bubble3D val="0"/>
            <c:spPr>
              <a:solidFill>
                <a:srgbClr val="BBBAC6"/>
              </a:solidFill>
              <a:ln w="12700" cap="flat">
                <a:noFill/>
                <a:miter lim="400000"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  <c:extLst>
              <c:ext xmlns:c16="http://schemas.microsoft.com/office/drawing/2014/chart" uri="{C3380CC4-5D6E-409C-BE32-E72D297353CC}">
                <c16:uniqueId val="{00000002-BF70-4F1F-A476-E957E261F52E}"/>
              </c:ext>
            </c:extLst>
          </c:dPt>
          <c:cat>
            <c:numRef>
              <c:f>Sheet1!$B$1:$D$1</c:f>
              <c:numCache>
                <c:formatCode>General</c:formatCod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numCache>
            </c:numRef>
          </c:cat>
          <c:val>
            <c:numRef>
              <c:f>Sheet1!$B$3:$D$3</c:f>
              <c:numCache>
                <c:formatCode>#,##0</c:formatCode>
                <c:ptCount val="3"/>
                <c:pt idx="0" formatCode="General">
                  <c:v>5000</c:v>
                </c:pt>
                <c:pt idx="1">
                  <c:v>10000</c:v>
                </c:pt>
                <c:pt idx="2" formatCode="General">
                  <c:v>1500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w="12700" cap="flat">
                    <a:noFill/>
                    <a:miter lim="400000"/>
                  </a:ln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</c14:spPr>
              </c14:invertSolidFillFmt>
            </c:ext>
            <c:ext xmlns:c16="http://schemas.microsoft.com/office/drawing/2014/chart" uri="{C3380CC4-5D6E-409C-BE32-E72D297353CC}">
              <c16:uniqueId val="{00000001-5DF9-42A2-88F7-2D0C8E0593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-10"/>
        <c:axId val="92252416"/>
        <c:axId val="92254208"/>
      </c:barChart>
      <c:catAx>
        <c:axId val="92252416"/>
        <c:scaling>
          <c:orientation val="minMax"/>
        </c:scaling>
        <c:delete val="1"/>
        <c:axPos val="b"/>
        <c:numFmt formatCode="General" sourceLinked="0"/>
        <c:majorTickMark val="none"/>
        <c:minorTickMark val="cross"/>
        <c:tickLblPos val="low"/>
        <c:crossAx val="92254208"/>
        <c:crosses val="autoZero"/>
        <c:auto val="1"/>
        <c:lblAlgn val="ctr"/>
        <c:lblOffset val="100"/>
        <c:noMultiLvlLbl val="1"/>
      </c:catAx>
      <c:valAx>
        <c:axId val="92254208"/>
        <c:scaling>
          <c:orientation val="minMax"/>
        </c:scaling>
        <c:delete val="1"/>
        <c:axPos val="l"/>
        <c:majorGridlines>
          <c:spPr>
            <a:ln w="12700" cap="flat">
              <a:solidFill>
                <a:srgbClr val="929292"/>
              </a:solidFill>
              <a:custDash>
                <a:ds d="200000" sp="200000"/>
              </a:custDash>
              <a:miter lim="400000"/>
            </a:ln>
          </c:spPr>
        </c:majorGridlines>
        <c:title>
          <c:tx>
            <c:rich>
              <a:bodyPr/>
              <a:lstStyle/>
              <a:p>
                <a:pPr>
                  <a:defRPr i="1">
                    <a:solidFill>
                      <a:schemeClr val="accent1">
                        <a:lumMod val="50000"/>
                      </a:schemeClr>
                    </a:solidFill>
                  </a:defRPr>
                </a:pPr>
                <a:r>
                  <a:rPr lang="ru-RU" b="1" i="0" dirty="0">
                    <a:solidFill>
                      <a:srgbClr val="5D5B6F"/>
                    </a:solidFill>
                  </a:rPr>
                  <a:t>тыс. руб.</a:t>
                </a:r>
              </a:p>
            </c:rich>
          </c:tx>
          <c:layout>
            <c:manualLayout>
              <c:xMode val="edge"/>
              <c:yMode val="edge"/>
              <c:x val="4.0232762171052254E-2"/>
              <c:y val="0.44503567555357326"/>
            </c:manualLayout>
          </c:layout>
          <c:overlay val="1"/>
        </c:title>
        <c:numFmt formatCode="#,##0" sourceLinked="0"/>
        <c:majorTickMark val="none"/>
        <c:minorTickMark val="cross"/>
        <c:tickLblPos val="nextTo"/>
        <c:crossAx val="92252416"/>
        <c:crosses val="autoZero"/>
        <c:crossBetween val="between"/>
      </c:valAx>
      <c:spPr>
        <a:noFill/>
        <a:ln w="12700" cap="flat">
          <a:noFill/>
          <a:miter lim="400000"/>
        </a:ln>
        <a:effectLst/>
      </c:spPr>
    </c:plotArea>
    <c:legend>
      <c:legendPos val="t"/>
      <c:legendEntry>
        <c:idx val="0"/>
        <c:txPr>
          <a:bodyPr/>
          <a:lstStyle/>
          <a:p>
            <a:pPr>
              <a:defRPr b="1">
                <a:solidFill>
                  <a:srgbClr val="5D5B6F"/>
                </a:solidFill>
              </a:defRPr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b="1">
                <a:solidFill>
                  <a:srgbClr val="5D5B6F"/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7.8512600000000404E-2"/>
          <c:y val="5.0000000000000131E-3"/>
          <c:w val="0.87726599999999999"/>
          <c:h val="0.11085600000000001"/>
        </c:manualLayout>
      </c:layout>
      <c:overlay val="1"/>
      <c:spPr>
        <a:noFill/>
        <a:ln w="12700" cap="flat">
          <a:noFill/>
          <a:miter lim="400000"/>
        </a:ln>
        <a:effectLst/>
      </c:spPr>
      <c:txPr>
        <a:bodyPr/>
        <a:lstStyle/>
        <a:p>
          <a:pPr>
            <a:defRPr>
              <a:solidFill>
                <a:schemeClr val="accent1">
                  <a:lumMod val="50000"/>
                </a:schemeClr>
              </a:solidFill>
            </a:defRPr>
          </a:pPr>
          <a:endParaRPr lang="ru-RU"/>
        </a:p>
      </c:txPr>
    </c:legend>
    <c:plotVisOnly val="1"/>
    <c:dispBlanksAs val="gap"/>
    <c:showDLblsOverMax val="1"/>
  </c:chart>
  <c:spPr>
    <a:noFill/>
    <a:ln>
      <a:noFill/>
    </a:ln>
    <a:effectLst/>
  </c:spPr>
  <c:txPr>
    <a:bodyPr/>
    <a:lstStyle/>
    <a:p>
      <a:pPr>
        <a:defRPr>
          <a:latin typeface="Montserrat" pitchFamily="2" charset="0"/>
        </a:defRPr>
      </a:pPr>
      <a:endParaRPr lang="ru-RU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78937A-929A-4504-90DD-BB077DD10066}" type="datetimeFigureOut">
              <a:rPr lang="ru-RU" smtClean="0"/>
              <a:t>19.07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25CEB8-45FB-4B2E-A028-7ED06A644B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90948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33052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" name="Google Shape;553;gb3033bf72a_0_9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54" name="Google Shape;554;gb3033bf72a_0_9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24533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18263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9478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902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7103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0527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5063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3986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28117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6272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89800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7769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2FB1501-20F8-E9A8-7A45-CDE3AFB751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B023EF2D-7259-4764-18FB-43E70D0048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5646E5A-4F2F-A324-8205-569CE75EF3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E39A8-0BC5-4FD5-9839-78E917993A5B}" type="datetimeFigureOut">
              <a:rPr lang="ru-RU" smtClean="0"/>
              <a:t>19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4E956D4-28E2-9D1A-859E-015C3D467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F4141EA-5DCA-C298-6852-23A63BE4A1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3958E-44B5-4C32-942B-A526ED7CE2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89703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9E2D6B3-35ED-D669-AE2D-18BCF3814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D6089E47-4907-343C-DBB2-189BCB62CCC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D4C2B55-95E1-789D-A53C-558E1F1CC1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E39A8-0BC5-4FD5-9839-78E917993A5B}" type="datetimeFigureOut">
              <a:rPr lang="ru-RU" smtClean="0"/>
              <a:t>19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07D1C8D-9AA8-0D57-1B76-92E14B0FCE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BBD00DC-4C61-A41C-BBF5-8EB8C471D3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3958E-44B5-4C32-942B-A526ED7CE2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2105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0D4A5103-7498-6D68-ED79-751964DB0D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B0998989-E7A9-55C6-4609-FB73354400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38D9CA4-CD98-9D6D-7395-920B1620CD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E39A8-0BC5-4FD5-9839-78E917993A5B}" type="datetimeFigureOut">
              <a:rPr lang="ru-RU" smtClean="0"/>
              <a:t>19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706FD50-C5C9-82A5-53A0-07E425BB0E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75DE475-2EEF-C4F7-5622-E2084C8A0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3958E-44B5-4C32-942B-A526ED7CE2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69183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4000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535236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8668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 flipH="1">
            <a:off x="11988800" y="0"/>
            <a:ext cx="2032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5" name="Title 5"/>
          <p:cNvSpPr>
            <a:spLocks noGrp="1"/>
          </p:cNvSpPr>
          <p:nvPr>
            <p:ph type="title"/>
          </p:nvPr>
        </p:nvSpPr>
        <p:spPr>
          <a:xfrm>
            <a:off x="7250113" y="660400"/>
            <a:ext cx="4281487" cy="18034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48355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p title only">
  <p:cSld name="Top title onl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9"/>
          <p:cNvSpPr/>
          <p:nvPr/>
        </p:nvSpPr>
        <p:spPr>
          <a:xfrm>
            <a:off x="-2667" y="0"/>
            <a:ext cx="12192000" cy="6858000"/>
          </a:xfrm>
          <a:prstGeom prst="rect">
            <a:avLst/>
          </a:prstGeom>
          <a:solidFill>
            <a:srgbClr val="02102E">
              <a:alpha val="5978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0" name="Google Shape;60;p9"/>
          <p:cNvSpPr/>
          <p:nvPr/>
        </p:nvSpPr>
        <p:spPr>
          <a:xfrm>
            <a:off x="11190133" y="0"/>
            <a:ext cx="100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1" name="Google Shape;61;p9"/>
          <p:cNvSpPr/>
          <p:nvPr/>
        </p:nvSpPr>
        <p:spPr>
          <a:xfrm>
            <a:off x="0" y="0"/>
            <a:ext cx="1002000" cy="100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2" name="Google Shape;62;p9"/>
          <p:cNvSpPr txBox="1">
            <a:spLocks noGrp="1"/>
          </p:cNvSpPr>
          <p:nvPr>
            <p:ph type="title"/>
          </p:nvPr>
        </p:nvSpPr>
        <p:spPr>
          <a:xfrm>
            <a:off x="1317133" y="0"/>
            <a:ext cx="9872800" cy="1002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9"/>
          <p:cNvSpPr txBox="1">
            <a:spLocks noGrp="1"/>
          </p:cNvSpPr>
          <p:nvPr>
            <p:ph type="sldNum" idx="12"/>
          </p:nvPr>
        </p:nvSpPr>
        <p:spPr>
          <a:xfrm>
            <a:off x="11189996" y="5854899"/>
            <a:ext cx="1002000" cy="1002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algn="ctr"/>
            <a:fld id="{00000000-1234-1234-1234-123412341234}" type="slidenum">
              <a:rPr lang="en" smtClean="0"/>
              <a:pPr algn="ct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7724245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9726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2032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58813" y="660400"/>
            <a:ext cx="4281487" cy="546100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402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AC92643-7A94-1193-B78D-E7D6D0B63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3A73482-48F5-BFDF-F7DE-5351D07D5E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F83C884-C27C-9CDC-09E1-CC209DF963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E39A8-0BC5-4FD5-9839-78E917993A5B}" type="datetimeFigureOut">
              <a:rPr lang="ru-RU" smtClean="0"/>
              <a:t>19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F2B7FB5-FC82-E5FB-D401-C31C4F7B03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ACC07F9-BA28-31D4-BC61-1DB70CE9CF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3958E-44B5-4C32-942B-A526ED7CE2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13691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4188823-39A7-2342-B199-75A4CEB52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37F6CD2-B6D4-DD79-E112-CB7D14EC32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061FBD7-4F9F-8F38-10B1-6E07DC7295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E39A8-0BC5-4FD5-9839-78E917993A5B}" type="datetimeFigureOut">
              <a:rPr lang="ru-RU" smtClean="0"/>
              <a:t>19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A49075D-D9C4-E56A-D5F8-7FAD6C81BF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1956ECA-471B-5036-B8FE-CD9B300D93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3958E-44B5-4C32-942B-A526ED7CE2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82788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191BA8-6DF8-0341-1A35-27712AF2EF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0E09230-44B8-0C1B-4A40-9A34892938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F82DF8F-2C8E-BDB6-7ADB-40DBDC359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7DE2AF42-033E-7071-6766-4FE1DE6B3D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E39A8-0BC5-4FD5-9839-78E917993A5B}" type="datetimeFigureOut">
              <a:rPr lang="ru-RU" smtClean="0"/>
              <a:t>19.07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9E2389E-9ED3-C315-FD04-597B003F8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CC55046-3ABF-143A-6F14-550AB2634C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3958E-44B5-4C32-942B-A526ED7CE2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51394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0F3BADC-35C2-CF80-17F4-2175A1C074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A909623-5D9B-F745-8CB1-2AC09CC20D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1748A8DE-364E-F0EE-1A41-1E358FDFE3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2B12386E-4ECB-0F58-61FD-C898397B919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7520BC64-2673-1B1D-6746-985C3FD15B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2ABB4BA5-0FC4-B79A-8294-7286B50980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E39A8-0BC5-4FD5-9839-78E917993A5B}" type="datetimeFigureOut">
              <a:rPr lang="ru-RU" smtClean="0"/>
              <a:t>19.07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5B76FF96-D01B-975C-4602-83833B0356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391A7945-586F-CAE3-F8F0-38BF31F6ED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3958E-44B5-4C32-942B-A526ED7CE2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8535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093374C-7AA4-CB5F-29A6-0104BC333C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EA44D0AB-CABC-9FC3-247C-3DCBB94EA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E39A8-0BC5-4FD5-9839-78E917993A5B}" type="datetimeFigureOut">
              <a:rPr lang="ru-RU" smtClean="0"/>
              <a:t>19.07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6413EB84-7EEC-70DB-EAA3-4C971AEF98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CC12C094-BF0D-C446-E093-69C87F9251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3958E-44B5-4C32-942B-A526ED7CE2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2281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ECB03F82-2313-2EF9-B7D7-158732C4B1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E39A8-0BC5-4FD5-9839-78E917993A5B}" type="datetimeFigureOut">
              <a:rPr lang="ru-RU" smtClean="0"/>
              <a:t>19.07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2DA98CCE-01FA-0C5B-8B9E-A0C0A250DD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7A1F2A5-58C6-D00B-8C54-B1E83A8A6F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3958E-44B5-4C32-942B-A526ED7CE2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09753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EEABFE2-0476-94E0-51F0-296C1A655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C85868C-30C2-C198-3C1E-6DB8884C1A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066AFD3-6148-44E7-B85F-81797B501A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AFF9DB0-96FB-B46F-AD7D-6991904EDB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E39A8-0BC5-4FD5-9839-78E917993A5B}" type="datetimeFigureOut">
              <a:rPr lang="ru-RU" smtClean="0"/>
              <a:t>19.07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C1414ED9-32DF-4494-5394-FA2A025E1B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28120AE-7B0D-ACB2-B533-8AE59FEDAA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3958E-44B5-4C32-942B-A526ED7CE2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50260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506862B-586E-227D-ACBC-8EA726799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A15DEAA0-81EA-BF98-CCF0-82F00BD3556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947672C-D0D5-22D8-191B-061116C01A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0C823E0-B340-2441-8858-4B10B6A403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E39A8-0BC5-4FD5-9839-78E917993A5B}" type="datetimeFigureOut">
              <a:rPr lang="ru-RU" smtClean="0"/>
              <a:t>19.07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EBD0D4B-7765-B916-7462-6066FCC239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AD36CC4-92EA-761C-C5AB-83097EF5E4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3958E-44B5-4C32-942B-A526ED7CE2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0645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F858024-9FE5-2B44-94B5-BEF2C2955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E5AE0D7-90BB-9896-9914-DFAB625954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284DB00-5F17-E16B-17B2-A504E345B2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1E39A8-0BC5-4FD5-9839-78E917993A5B}" type="datetimeFigureOut">
              <a:rPr lang="ru-RU" smtClean="0"/>
              <a:t>19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5D4C9AA-7520-DF9C-14F4-3062BF051D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1EC42EF-81B6-6649-8862-58CDC0AA54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53958E-44B5-4C32-942B-A526ED7CE2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7505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svg"/><Relationship Id="rId12" Type="http://schemas.openxmlformats.org/officeDocument/2006/relationships/image" Target="../media/image32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3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emf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34.emf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4.xml"/><Relationship Id="rId6" Type="http://schemas.openxmlformats.org/officeDocument/2006/relationships/image" Target="../media/image3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36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5.xml"/><Relationship Id="rId6" Type="http://schemas.openxmlformats.org/officeDocument/2006/relationships/image" Target="../media/image3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6.xml"/><Relationship Id="rId6" Type="http://schemas.openxmlformats.org/officeDocument/2006/relationships/image" Target="../media/image3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image" Target="../media/image46.jpg"/><Relationship Id="rId7" Type="http://schemas.openxmlformats.org/officeDocument/2006/relationships/image" Target="../media/image2.jp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7.xml"/><Relationship Id="rId6" Type="http://schemas.openxmlformats.org/officeDocument/2006/relationships/image" Target="../media/image48.jpg"/><Relationship Id="rId5" Type="http://schemas.microsoft.com/office/2007/relationships/hdphoto" Target="../media/hdphoto3.wdp"/><Relationship Id="rId4" Type="http://schemas.openxmlformats.org/officeDocument/2006/relationships/image" Target="../media/image47.png"/><Relationship Id="rId9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51.jp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8.xml"/><Relationship Id="rId6" Type="http://schemas.openxmlformats.org/officeDocument/2006/relationships/image" Target="../media/image50.jpg"/><Relationship Id="rId5" Type="http://schemas.openxmlformats.org/officeDocument/2006/relationships/image" Target="../media/image49.jp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2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oleObject" Target="../embeddings/oleObject17.bin"/><Relationship Id="rId7" Type="http://schemas.microsoft.com/office/2007/relationships/hdphoto" Target="../media/hdphoto4.wdp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9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video" Target="../media/media1.mp4"/><Relationship Id="rId7" Type="http://schemas.openxmlformats.org/officeDocument/2006/relationships/image" Target="../media/image1.emf"/><Relationship Id="rId2" Type="http://schemas.microsoft.com/office/2007/relationships/media" Target="../media/media1.mp4"/><Relationship Id="rId1" Type="http://schemas.openxmlformats.org/officeDocument/2006/relationships/tags" Target="../tags/tag8.x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3.jpg"/><Relationship Id="rId4" Type="http://schemas.openxmlformats.org/officeDocument/2006/relationships/image" Target="../media/image9.jpg"/><Relationship Id="rId9" Type="http://schemas.openxmlformats.org/officeDocument/2006/relationships/image" Target="../media/image12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5.png"/><Relationship Id="rId12" Type="http://schemas.microsoft.com/office/2007/relationships/hdphoto" Target="../media/hdphoto2.wdp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11" Type="http://schemas.openxmlformats.org/officeDocument/2006/relationships/image" Target="../media/image19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8.png"/><Relationship Id="rId4" Type="http://schemas.openxmlformats.org/officeDocument/2006/relationships/image" Target="../media/image14.jpeg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 descr="Изображение выглядит как человек,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39D480EE-1E74-862E-07D6-389F168DC4D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4"/>
          <a:srcRect t="4220" r="-874" b="8372"/>
          <a:stretch/>
        </p:blipFill>
        <p:spPr>
          <a:xfrm>
            <a:off x="-19380" y="-1"/>
            <a:ext cx="4926615" cy="64021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9207374" y="6005742"/>
            <a:ext cx="3098926" cy="275879"/>
          </a:xfrm>
          <a:prstGeom prst="rect">
            <a:avLst/>
          </a:prstGeom>
          <a:noFill/>
          <a:ln>
            <a:solidFill>
              <a:srgbClr val="14CE9F"/>
            </a:solidFill>
          </a:ln>
          <a:effectLst>
            <a:outerShdw blurRad="63500" dist="127000" dir="9060000" algn="r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96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69875"/>
            <a:endParaRPr lang="en-US" dirty="0">
              <a:solidFill>
                <a:srgbClr val="DDF9B8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27" name="Rectangle 14"/>
          <p:cNvSpPr/>
          <p:nvPr/>
        </p:nvSpPr>
        <p:spPr>
          <a:xfrm>
            <a:off x="207551" y="979424"/>
            <a:ext cx="4042334" cy="5155440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14"/>
          <p:cNvSpPr/>
          <p:nvPr/>
        </p:nvSpPr>
        <p:spPr>
          <a:xfrm rot="10800000">
            <a:off x="2991776" y="494838"/>
            <a:ext cx="1630509" cy="5155439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Rectangle 14"/>
          <p:cNvSpPr/>
          <p:nvPr/>
        </p:nvSpPr>
        <p:spPr>
          <a:xfrm rot="5400000">
            <a:off x="1738742" y="-1041743"/>
            <a:ext cx="1410371" cy="4042334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6557446" y="575352"/>
            <a:ext cx="3736267" cy="61555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t">
            <a:spAutoFit/>
          </a:bodyPr>
          <a:lstStyle/>
          <a:p>
            <a:r>
              <a:rPr lang="ru-RU" sz="4000" dirty="0">
                <a:solidFill>
                  <a:srgbClr val="5D5B6F"/>
                </a:solidFill>
                <a:latin typeface="Gabriela" panose="00000500000000000000" pitchFamily="2" charset="0"/>
              </a:rPr>
              <a:t>Лидер проекта</a:t>
            </a:r>
            <a:endParaRPr lang="en-US" sz="4000" dirty="0">
              <a:solidFill>
                <a:srgbClr val="5D5B6F"/>
              </a:solidFill>
              <a:latin typeface="Gabriela" panose="00000500000000000000" pitchFamily="2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165975" y="3199165"/>
            <a:ext cx="6515259" cy="10988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000"/>
              </a:lnSpc>
            </a:pPr>
            <a:r>
              <a:rPr lang="ru-RU" sz="16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Студент 4, выпускного курса, бакалавриата по направлению «Торговое дело: Коммерция и электронная торговля», Санкт-Петербургского государственного экономического университета (СПбГЭУ).</a:t>
            </a:r>
            <a:endParaRPr lang="en-US" sz="16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138382" y="2481311"/>
            <a:ext cx="3736267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2000" dirty="0">
                <a:solidFill>
                  <a:srgbClr val="14CE9F"/>
                </a:solidFill>
                <a:latin typeface="Montserrat SemiBold" panose="00000700000000000000" pitchFamily="2" charset="-18"/>
              </a:rPr>
              <a:t>Царькова Мария</a:t>
            </a:r>
            <a:endParaRPr lang="en-US" sz="2000" kern="2000" dirty="0">
              <a:solidFill>
                <a:srgbClr val="14CE9F"/>
              </a:solidFill>
              <a:latin typeface="Montserrat SemiBold" panose="00000700000000000000" pitchFamily="2" charset="-18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165975" y="2816078"/>
            <a:ext cx="3736267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dirty="0">
                <a:solidFill>
                  <a:srgbClr val="14CE9F"/>
                </a:solidFill>
              </a:rPr>
              <a:t>О себе</a:t>
            </a:r>
            <a:endParaRPr lang="en-US" kern="2000" dirty="0">
              <a:solidFill>
                <a:srgbClr val="14CE9F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6265214-6D57-7D1A-C79A-5662596A9D54}"/>
              </a:ext>
            </a:extLst>
          </p:cNvPr>
          <p:cNvSpPr txBox="1"/>
          <p:nvPr/>
        </p:nvSpPr>
        <p:spPr>
          <a:xfrm>
            <a:off x="9644124" y="6016498"/>
            <a:ext cx="1920625" cy="2367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1400" b="1" dirty="0">
                <a:solidFill>
                  <a:srgbClr val="14CE9F"/>
                </a:solidFill>
              </a:rPr>
              <a:t>г. Санкт-Петербург</a:t>
            </a:r>
            <a:endParaRPr lang="en-US" sz="1400" b="1" kern="2000" dirty="0">
              <a:solidFill>
                <a:srgbClr val="14CE9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3900721"/>
      </p:ext>
    </p:extLst>
  </p:cSld>
  <p:clrMapOvr>
    <a:masterClrMapping/>
  </p:clrMapOvr>
  <p:transition spd="slow">
    <p:push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" dur="1000"/>
                                            <p:tgtEl>
                                              <p:spTgt spid="3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22" presetClass="entr" presetSubtype="1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10" dur="10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" presetID="21" presetClass="entr" presetSubtype="1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heel(1)">
                                          <p:cBhvr>
                                            <p:cTn id="13" dur="14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4" presetID="2" presetClass="entr" presetSubtype="2" fill="hold" grpId="0" nodeType="withEffect" p14:presetBounceEnd="46250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250">
                                          <p:cBhvr additive="base">
                                            <p:cTn id="16" dur="8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250">
                                          <p:cBhvr additive="base">
                                            <p:cTn id="17" dur="8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4" grpId="0" animBg="1"/>
          <p:bldP spid="27" grpId="0" animBg="1"/>
          <p:bldP spid="32" grpId="0" animBg="1"/>
          <p:bldP spid="33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" dur="1000"/>
                                            <p:tgtEl>
                                              <p:spTgt spid="3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22" presetClass="entr" presetSubtype="1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10" dur="10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" presetID="21" presetClass="entr" presetSubtype="1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heel(1)">
                                          <p:cBhvr>
                                            <p:cTn id="13" dur="14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4" presetID="2" presetClass="entr" presetSubtype="4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1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7" dur="500" fill="hold"/>
                                            <p:tgtEl>
                                              <p:spTgt spid="1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8" presetID="2" presetClass="entr" presetSubtype="4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15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5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2" presetID="2" presetClass="entr" presetSubtype="4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4" dur="500" fill="hold"/>
                                            <p:tgtEl>
                                              <p:spTgt spid="1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5" dur="500" fill="hold"/>
                                            <p:tgtEl>
                                              <p:spTgt spid="1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6" presetID="2" presetClass="entr" presetSubtype="2" fill="hold" grpId="0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8" dur="8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9" dur="8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4" grpId="0" animBg="1"/>
          <p:bldP spid="27" grpId="0" animBg="1"/>
          <p:bldP spid="32" grpId="0" animBg="1"/>
          <p:bldP spid="33" grpId="0" animBg="1"/>
          <p:bldP spid="155" grpId="0" animBg="1"/>
          <p:bldP spid="156" grpId="0" animBg="1"/>
          <p:bldP spid="158" grpId="0" animBg="1"/>
        </p:bldLst>
      </p:timing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Рисунок 21" descr="Изображение выглядит как Шрифт, Графика, логотип, символ&#10;&#10;Автоматически созданное описание">
            <a:extLst>
              <a:ext uri="{FF2B5EF4-FFF2-40B4-BE49-F238E27FC236}">
                <a16:creationId xmlns:a16="http://schemas.microsoft.com/office/drawing/2014/main" id="{844BFCA8-EF5F-0D4E-6A83-4942D6689A8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83" t="13007" r="9162" b="29217"/>
          <a:stretch/>
        </p:blipFill>
        <p:spPr>
          <a:xfrm>
            <a:off x="4887912" y="5335213"/>
            <a:ext cx="1704976" cy="450859"/>
          </a:xfrm>
          <a:prstGeom prst="rect">
            <a:avLst/>
          </a:prstGeom>
          <a:effectLst/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B94D1DE-BD30-B86C-F513-C1BA70A0B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2" y="936625"/>
            <a:ext cx="9630406" cy="459242"/>
          </a:xfrm>
        </p:spPr>
        <p:txBody>
          <a:bodyPr>
            <a:normAutofit fontScale="90000"/>
          </a:bodyPr>
          <a:lstStyle/>
          <a:p>
            <a:r>
              <a:rPr lang="ru-RU" dirty="0"/>
              <a:t>Заинтересованные компании</a:t>
            </a:r>
          </a:p>
        </p:txBody>
      </p:sp>
      <p:pic>
        <p:nvPicPr>
          <p:cNvPr id="4" name="Рисунок 3" descr="Изображение выглядит как Шрифт, Графика, графический дизайн,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404C0F04-FA33-9B59-2A3E-8F0932C69C6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385"/>
          <a:stretch/>
        </p:blipFill>
        <p:spPr>
          <a:xfrm>
            <a:off x="658813" y="2015115"/>
            <a:ext cx="2808287" cy="752348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6" name="Рисунок 5" descr="Изображение выглядит как снимок экрана, Графика, Шрифт, графический дизайн&#10;&#10;Автоматически созданное описание">
            <a:extLst>
              <a:ext uri="{FF2B5EF4-FFF2-40B4-BE49-F238E27FC236}">
                <a16:creationId xmlns:a16="http://schemas.microsoft.com/office/drawing/2014/main" id="{0F9782BB-1367-D10A-026A-E72D5C1421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13" y="3624870"/>
            <a:ext cx="2112962" cy="757695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8" name="Рисунок 7" descr="Изображение выглядит как Шрифт, Графика, логотип, текст&#10;&#10;Автоматически созданное описание">
            <a:extLst>
              <a:ext uri="{FF2B5EF4-FFF2-40B4-BE49-F238E27FC236}">
                <a16:creationId xmlns:a16="http://schemas.microsoft.com/office/drawing/2014/main" id="{9B02E072-C653-E5A2-FAE4-D53D37D1834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13" y="5239972"/>
            <a:ext cx="2602707" cy="917048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69C889D6-8DA9-CC64-387C-031C9B08A4F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49314" y="3380232"/>
            <a:ext cx="1256139" cy="1246970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12" name="Рисунок 11" descr="Изображение выглядит как Графика, графический дизайн, Шрифт,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72782AF2-29CD-5CC8-B1E4-D97EFD3BA21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39" b="13390"/>
          <a:stretch/>
        </p:blipFill>
        <p:spPr>
          <a:xfrm>
            <a:off x="7894637" y="1818143"/>
            <a:ext cx="3638550" cy="949320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16" name="Рисунок 15" descr="Изображение выглядит как Графика, Шрифт, графический дизайн, зеленый&#10;&#10;Автоматически созданное описание">
            <a:extLst>
              <a:ext uri="{FF2B5EF4-FFF2-40B4-BE49-F238E27FC236}">
                <a16:creationId xmlns:a16="http://schemas.microsoft.com/office/drawing/2014/main" id="{7CD7B2EE-0A2E-A67E-F6DB-D002E846499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7485" y="5239972"/>
            <a:ext cx="3045585" cy="546100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18" name="Рисунок 17" descr="Изображение выглядит как Графика, графический дизайн, Шрифт, символ&#10;&#10;Автоматически созданное описание">
            <a:extLst>
              <a:ext uri="{FF2B5EF4-FFF2-40B4-BE49-F238E27FC236}">
                <a16:creationId xmlns:a16="http://schemas.microsoft.com/office/drawing/2014/main" id="{2A1080E0-46E4-0AE4-557C-91F3EA25F8A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7700" y="2015115"/>
            <a:ext cx="2565400" cy="740560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20" name="Рисунок 19" descr="Изображение выглядит как Графика, графический дизайн, графическая вставка, логотип&#10;&#10;Автоматически созданное описание">
            <a:extLst>
              <a:ext uri="{FF2B5EF4-FFF2-40B4-BE49-F238E27FC236}">
                <a16:creationId xmlns:a16="http://schemas.microsoft.com/office/drawing/2014/main" id="{210B884B-04D8-6B71-1487-E15F016A3D0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7578" y="3366419"/>
            <a:ext cx="2565400" cy="1001907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24" name="Рисунок 23" descr="Изображение выглядит как логотип, символ, Графика, Шрифт&#10;&#10;Автоматически созданное описание">
            <a:extLst>
              <a:ext uri="{FF2B5EF4-FFF2-40B4-BE49-F238E27FC236}">
                <a16:creationId xmlns:a16="http://schemas.microsoft.com/office/drawing/2014/main" id="{1D404B09-6A5F-4C4C-A7A9-89C399AC02D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2233" y="3503057"/>
            <a:ext cx="728632" cy="728632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705723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>
          <a:xfrm>
            <a:off x="654475" y="2392247"/>
            <a:ext cx="11095037" cy="4465753"/>
          </a:xfrm>
          <a:prstGeom prst="rect">
            <a:avLst/>
          </a:prstGeom>
          <a:gradFill flip="none" rotWithShape="1">
            <a:gsLst>
              <a:gs pos="0">
                <a:srgbClr val="F6F6F9">
                  <a:alpha val="0"/>
                </a:srgbClr>
              </a:gs>
              <a:gs pos="62000">
                <a:srgbClr val="F6F6F9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0" y="3588327"/>
            <a:ext cx="11531600" cy="330018"/>
          </a:xfrm>
          <a:prstGeom prst="rect">
            <a:avLst/>
          </a:prstGeom>
          <a:solidFill>
            <a:srgbClr val="14CE9F">
              <a:alpha val="3686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marL="269875"/>
            <a:endParaRPr lang="en-US" dirty="0">
              <a:solidFill>
                <a:srgbClr val="DDF9B8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7962436" y="1551775"/>
            <a:ext cx="2417266" cy="2417266"/>
          </a:xfrm>
          <a:prstGeom prst="ellipse">
            <a:avLst/>
          </a:prstGeom>
          <a:noFill/>
          <a:ln w="60325">
            <a:solidFill>
              <a:srgbClr val="14CE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Box 30"/>
          <p:cNvSpPr txBox="1"/>
          <p:nvPr/>
        </p:nvSpPr>
        <p:spPr>
          <a:xfrm>
            <a:off x="876439" y="5798629"/>
            <a:ext cx="7480385" cy="7386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105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Источники:</a:t>
            </a:r>
          </a:p>
          <a:p>
            <a:pPr>
              <a:lnSpc>
                <a:spcPts val="2000"/>
              </a:lnSpc>
            </a:pPr>
            <a:r>
              <a:rPr lang="ru-RU" sz="105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Как меняются инструменты и подходы к тестированию ПО в крупном российском бизнесе. Обзор T</a:t>
            </a:r>
            <a:r>
              <a:rPr lang="en-US" sz="105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a</a:t>
            </a:r>
            <a:r>
              <a:rPr lang="ru-RU" sz="105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dviser</a:t>
            </a:r>
            <a:endParaRPr lang="ru-RU" sz="105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  <a:p>
            <a:pPr>
              <a:lnSpc>
                <a:spcPts val="2000"/>
              </a:lnSpc>
            </a:pPr>
            <a:r>
              <a:rPr lang="ru-RU" sz="105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Тендер на общую сумму около 1,2 млрд рублей в интересах подразделения </a:t>
            </a:r>
            <a:r>
              <a:rPr lang="ru-RU" sz="105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SberDevices</a:t>
            </a:r>
            <a:endParaRPr lang="en-US" sz="105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442488" y="4153624"/>
            <a:ext cx="2500737" cy="8707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ru-RU" sz="1400" dirty="0">
                <a:solidFill>
                  <a:srgbClr val="5D5B6F"/>
                </a:solidFill>
                <a:latin typeface="Montserrat Light" panose="00000400000000000000" pitchFamily="2" charset="-18"/>
              </a:rPr>
              <a:t>55.76 млрд долл. США</a:t>
            </a:r>
            <a:endParaRPr lang="en-US" sz="1400" dirty="0">
              <a:solidFill>
                <a:srgbClr val="5D5B6F"/>
              </a:solidFill>
              <a:latin typeface="Montserrat Light" panose="00000400000000000000" pitchFamily="2" charset="-18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042804" y="4093613"/>
            <a:ext cx="2797458" cy="9907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ru-RU" sz="1400" dirty="0">
                <a:solidFill>
                  <a:srgbClr val="5D5B6F"/>
                </a:solidFill>
                <a:latin typeface="Montserrat Light" panose="00000400000000000000" pitchFamily="2" charset="-18"/>
              </a:rPr>
              <a:t>5,4 млрд рублей России</a:t>
            </a:r>
            <a:endParaRPr lang="en-US" sz="1400" dirty="0">
              <a:solidFill>
                <a:srgbClr val="5D5B6F"/>
              </a:solidFill>
              <a:latin typeface="Montserrat Light" panose="00000400000000000000" pitchFamily="2" charset="-18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8135498" y="4120019"/>
            <a:ext cx="2318778" cy="10061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ru-RU" sz="1400" dirty="0">
                <a:solidFill>
                  <a:srgbClr val="5D5B6F"/>
                </a:solidFill>
                <a:latin typeface="Montserrat Light" panose="00000400000000000000" pitchFamily="2" charset="-18"/>
              </a:rPr>
              <a:t>1,2 млрд рублей</a:t>
            </a:r>
            <a:endParaRPr lang="en-US" sz="1400" dirty="0">
              <a:solidFill>
                <a:srgbClr val="5D5B6F"/>
              </a:solidFill>
              <a:latin typeface="Montserrat Light" panose="00000400000000000000" pitchFamily="2" charset="-18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250112" y="-115899"/>
            <a:ext cx="4281487" cy="1803400"/>
          </a:xfrm>
        </p:spPr>
        <p:txBody>
          <a:bodyPr/>
          <a:lstStyle/>
          <a:p>
            <a:r>
              <a:rPr lang="ru-RU" dirty="0">
                <a:latin typeface="Gabriela" panose="00000500000000000000" pitchFamily="2" charset="0"/>
              </a:rPr>
              <a:t>Рынок 2</a:t>
            </a:r>
            <a:endParaRPr lang="en-US" dirty="0">
              <a:latin typeface="Gabriela" panose="00000500000000000000" pitchFamily="2" charset="0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4327332" y="1551763"/>
            <a:ext cx="2417266" cy="2417266"/>
          </a:xfrm>
          <a:prstGeom prst="ellipse">
            <a:avLst/>
          </a:prstGeom>
          <a:noFill/>
          <a:ln w="60325">
            <a:solidFill>
              <a:srgbClr val="14CE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Oval 44"/>
          <p:cNvSpPr/>
          <p:nvPr/>
        </p:nvSpPr>
        <p:spPr>
          <a:xfrm>
            <a:off x="654475" y="1552011"/>
            <a:ext cx="2417266" cy="2417266"/>
          </a:xfrm>
          <a:prstGeom prst="ellipse">
            <a:avLst/>
          </a:prstGeom>
          <a:noFill/>
          <a:ln w="60325">
            <a:solidFill>
              <a:srgbClr val="14CE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18">
            <a:extLst>
              <a:ext uri="{FF2B5EF4-FFF2-40B4-BE49-F238E27FC236}">
                <a16:creationId xmlns:a16="http://schemas.microsoft.com/office/drawing/2014/main" id="{EE0F24B9-2B50-FB95-E150-AFC9A70BFAEF}"/>
              </a:ext>
            </a:extLst>
          </p:cNvPr>
          <p:cNvSpPr/>
          <p:nvPr/>
        </p:nvSpPr>
        <p:spPr>
          <a:xfrm>
            <a:off x="876439" y="2595387"/>
            <a:ext cx="1632040" cy="330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algn="ctr"/>
            <a:r>
              <a:rPr lang="en-US" sz="4000" b="1" dirty="0">
                <a:solidFill>
                  <a:srgbClr val="14CE9F"/>
                </a:solidFill>
                <a:latin typeface="Montserrat Medium" panose="00000600000000000000" pitchFamily="2" charset="-18"/>
              </a:rPr>
              <a:t>TAM</a:t>
            </a:r>
          </a:p>
        </p:txBody>
      </p:sp>
      <p:sp>
        <p:nvSpPr>
          <p:cNvPr id="8" name="Rectangle 18">
            <a:extLst>
              <a:ext uri="{FF2B5EF4-FFF2-40B4-BE49-F238E27FC236}">
                <a16:creationId xmlns:a16="http://schemas.microsoft.com/office/drawing/2014/main" id="{264E5707-DE6D-C67B-D51E-5B2AA6777209}"/>
              </a:ext>
            </a:extLst>
          </p:cNvPr>
          <p:cNvSpPr/>
          <p:nvPr/>
        </p:nvSpPr>
        <p:spPr>
          <a:xfrm>
            <a:off x="4524999" y="2595387"/>
            <a:ext cx="1749712" cy="3274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algn="ctr"/>
            <a:r>
              <a:rPr lang="en-US" sz="4000" b="1" dirty="0">
                <a:solidFill>
                  <a:srgbClr val="14CE9F"/>
                </a:solidFill>
                <a:latin typeface="Montserrat Medium" panose="00000600000000000000" pitchFamily="2" charset="-18"/>
              </a:rPr>
              <a:t>SAM</a:t>
            </a:r>
          </a:p>
        </p:txBody>
      </p:sp>
      <p:sp>
        <p:nvSpPr>
          <p:cNvPr id="13" name="Rectangle 18">
            <a:extLst>
              <a:ext uri="{FF2B5EF4-FFF2-40B4-BE49-F238E27FC236}">
                <a16:creationId xmlns:a16="http://schemas.microsoft.com/office/drawing/2014/main" id="{F2B13559-4AC2-6495-EE71-2C5386538B4B}"/>
              </a:ext>
            </a:extLst>
          </p:cNvPr>
          <p:cNvSpPr/>
          <p:nvPr/>
        </p:nvSpPr>
        <p:spPr>
          <a:xfrm>
            <a:off x="8239560" y="2587299"/>
            <a:ext cx="1701881" cy="330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algn="ctr"/>
            <a:r>
              <a:rPr lang="en-US" sz="4000" b="1" dirty="0">
                <a:solidFill>
                  <a:srgbClr val="14CE9F"/>
                </a:solidFill>
                <a:latin typeface="Montserrat Medium" panose="00000600000000000000" pitchFamily="2" charset="-18"/>
              </a:rPr>
              <a:t>SOM</a:t>
            </a:r>
          </a:p>
        </p:txBody>
      </p:sp>
    </p:spTree>
    <p:extLst>
      <p:ext uri="{BB962C8B-B14F-4D97-AF65-F5344CB8AC3E}">
        <p14:creationId xmlns:p14="http://schemas.microsoft.com/office/powerpoint/2010/main" val="1461172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8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150"/>
                                </p:stCondLst>
                                <p:childTnLst>
                                  <p:par>
                                    <p:cTn id="18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20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8" grpId="0" animBg="1"/>
        </p:bldLst>
      </p:timing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4D35C4DD-C328-1F6A-8CC5-C8E91178E5D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453" y="0"/>
            <a:ext cx="12224990" cy="6858000"/>
          </a:xfrm>
          <a:prstGeom prst="rect">
            <a:avLst/>
          </a:prstGeom>
          <a:gradFill>
            <a:gsLst>
              <a:gs pos="92000">
                <a:srgbClr val="14CE9F">
                  <a:alpha val="90000"/>
                </a:srgbClr>
              </a:gs>
              <a:gs pos="10000">
                <a:srgbClr val="DDF9B8">
                  <a:alpha val="9000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556" name="Google Shape;556;p43"/>
          <p:cNvSpPr txBox="1">
            <a:spLocks noGrp="1"/>
          </p:cNvSpPr>
          <p:nvPr>
            <p:ph type="title"/>
          </p:nvPr>
        </p:nvSpPr>
        <p:spPr>
          <a:xfrm>
            <a:off x="1317133" y="0"/>
            <a:ext cx="9872800" cy="1002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r>
              <a:rPr lang="ru-RU" sz="3600" dirty="0">
                <a:solidFill>
                  <a:schemeClr val="bg1"/>
                </a:solidFill>
              </a:rPr>
              <a:t>Бизнес-модель</a:t>
            </a:r>
            <a:endParaRPr sz="3600" dirty="0">
              <a:solidFill>
                <a:schemeClr val="bg1"/>
              </a:solidFill>
            </a:endParaRPr>
          </a:p>
        </p:txBody>
      </p:sp>
      <p:sp>
        <p:nvSpPr>
          <p:cNvPr id="558" name="Google Shape;558;p43"/>
          <p:cNvSpPr txBox="1"/>
          <p:nvPr/>
        </p:nvSpPr>
        <p:spPr>
          <a:xfrm>
            <a:off x="2955107" y="1003767"/>
            <a:ext cx="1962800" cy="1988800"/>
          </a:xfrm>
          <a:prstGeom prst="rect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ru-RU" sz="1200" b="1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Основные направления деятельности</a:t>
            </a:r>
            <a:endParaRPr sz="1200" b="1" dirty="0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marL="171450" indent="-171450">
              <a:spcBef>
                <a:spcPts val="533"/>
              </a:spcBef>
              <a:spcAft>
                <a:spcPts val="533"/>
              </a:spcAft>
              <a:buClr>
                <a:schemeClr val="bg1"/>
              </a:buClr>
              <a:buSzPts val="1100"/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Профессиональная поддержка </a:t>
            </a:r>
          </a:p>
          <a:p>
            <a:pPr marL="171450" indent="-171450">
              <a:spcBef>
                <a:spcPts val="533"/>
              </a:spcBef>
              <a:spcAft>
                <a:spcPts val="533"/>
              </a:spcAft>
              <a:buClr>
                <a:schemeClr val="bg1"/>
              </a:buClr>
              <a:buSzPts val="1100"/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Генерация и тестирование </a:t>
            </a:r>
            <a:r>
              <a:rPr lang="en-US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MVP</a:t>
            </a: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 с помощью цифровых технологий и ИИ</a:t>
            </a:r>
            <a:endParaRPr lang="en-US" sz="1067" dirty="0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559" name="Google Shape;559;p43"/>
          <p:cNvSpPr txBox="1"/>
          <p:nvPr/>
        </p:nvSpPr>
        <p:spPr>
          <a:xfrm>
            <a:off x="2955107" y="2992651"/>
            <a:ext cx="1962800" cy="1988800"/>
          </a:xfrm>
          <a:prstGeom prst="rect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ru-RU" sz="1200" b="1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Основные ресурсы</a:t>
            </a:r>
            <a:endParaRPr sz="1200" b="1" dirty="0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marL="171450" indent="-171450">
              <a:spcBef>
                <a:spcPts val="533"/>
              </a:spcBef>
              <a:spcAft>
                <a:spcPts val="533"/>
              </a:spcAft>
              <a:buClr>
                <a:schemeClr val="bg1"/>
              </a:buClr>
              <a:buSzPts val="1100"/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Сайт-платформа</a:t>
            </a:r>
          </a:p>
          <a:p>
            <a:pPr marL="171450" indent="-171450">
              <a:spcBef>
                <a:spcPts val="533"/>
              </a:spcBef>
              <a:spcAft>
                <a:spcPts val="533"/>
              </a:spcAft>
              <a:buClr>
                <a:schemeClr val="bg1"/>
              </a:buClr>
              <a:buSzPts val="1100"/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Профессиональная команда</a:t>
            </a:r>
          </a:p>
          <a:p>
            <a:pPr marL="171450" indent="-171450">
              <a:spcBef>
                <a:spcPts val="533"/>
              </a:spcBef>
              <a:spcAft>
                <a:spcPts val="533"/>
              </a:spcAft>
              <a:buClr>
                <a:schemeClr val="bg1"/>
              </a:buClr>
              <a:buSzPts val="1100"/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Чат-бот в </a:t>
            </a:r>
            <a:r>
              <a:rPr lang="ru-RU" sz="1067" dirty="0" err="1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телеграм</a:t>
            </a:r>
            <a:endParaRPr lang="ru-RU" sz="1067" dirty="0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marL="171450" indent="-171450">
              <a:spcBef>
                <a:spcPts val="533"/>
              </a:spcBef>
              <a:spcAft>
                <a:spcPts val="533"/>
              </a:spcAft>
              <a:buClr>
                <a:schemeClr val="bg1"/>
              </a:buClr>
              <a:buSzPts val="1100"/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Моб. приложение</a:t>
            </a:r>
          </a:p>
        </p:txBody>
      </p:sp>
      <p:sp>
        <p:nvSpPr>
          <p:cNvPr id="560" name="Google Shape;560;p43"/>
          <p:cNvSpPr txBox="1"/>
          <p:nvPr/>
        </p:nvSpPr>
        <p:spPr>
          <a:xfrm>
            <a:off x="4918115" y="1003767"/>
            <a:ext cx="1962800" cy="3977600"/>
          </a:xfrm>
          <a:prstGeom prst="rect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ru-RU" sz="1200" b="1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Предлагаемые преимущества</a:t>
            </a:r>
            <a:endParaRPr sz="1200" b="1" dirty="0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marL="171450" indent="-171450">
              <a:spcBef>
                <a:spcPts val="533"/>
              </a:spcBef>
              <a:spcAft>
                <a:spcPts val="533"/>
              </a:spcAft>
              <a:buClr>
                <a:schemeClr val="bg1"/>
              </a:buClr>
              <a:buSzPts val="1100"/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Вся информация в одном ресурсе</a:t>
            </a:r>
          </a:p>
          <a:p>
            <a:pPr marL="171450" indent="-171450">
              <a:spcBef>
                <a:spcPts val="533"/>
              </a:spcBef>
              <a:spcAft>
                <a:spcPts val="533"/>
              </a:spcAft>
              <a:buClr>
                <a:schemeClr val="bg1"/>
              </a:buClr>
              <a:buSzPts val="1100"/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Профессиональная поддержка квалифицированных специалистов, опыт более 20 лет (бух, нал, юр)</a:t>
            </a:r>
          </a:p>
          <a:p>
            <a:pPr marL="171450" indent="-171450">
              <a:spcBef>
                <a:spcPts val="533"/>
              </a:spcBef>
              <a:spcAft>
                <a:spcPts val="533"/>
              </a:spcAft>
              <a:buClr>
                <a:schemeClr val="bg1"/>
              </a:buClr>
              <a:buSzPts val="1100"/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Генерация и тестирование </a:t>
            </a:r>
            <a:r>
              <a:rPr lang="en-US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MVP</a:t>
            </a: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 с помощью цифровых технологий и ИИ</a:t>
            </a:r>
            <a:endParaRPr lang="en-US" sz="1067" dirty="0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marL="171450" indent="-171450">
              <a:spcBef>
                <a:spcPts val="533"/>
              </a:spcBef>
              <a:spcAft>
                <a:spcPts val="533"/>
              </a:spcAft>
              <a:buClr>
                <a:schemeClr val="bg1"/>
              </a:buClr>
              <a:buSzPts val="1100"/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Возможность найти специалиста в команду</a:t>
            </a:r>
          </a:p>
        </p:txBody>
      </p:sp>
      <p:sp>
        <p:nvSpPr>
          <p:cNvPr id="561" name="Google Shape;561;p43"/>
          <p:cNvSpPr txBox="1"/>
          <p:nvPr/>
        </p:nvSpPr>
        <p:spPr>
          <a:xfrm>
            <a:off x="6881121" y="1003766"/>
            <a:ext cx="1962800" cy="3977599"/>
          </a:xfrm>
          <a:prstGeom prst="rect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ru-RU" sz="1200" b="1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Отношения с клиентами</a:t>
            </a:r>
          </a:p>
          <a:p>
            <a:pPr marL="171450" indent="-171450">
              <a:spcBef>
                <a:spcPts val="533"/>
              </a:spcBef>
              <a:spcAft>
                <a:spcPts val="533"/>
              </a:spcAft>
              <a:buClr>
                <a:schemeClr val="bg1"/>
              </a:buClr>
              <a:buSzPts val="1100"/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Сайт-платформа</a:t>
            </a:r>
          </a:p>
          <a:p>
            <a:pPr marL="171450" indent="-171450">
              <a:spcBef>
                <a:spcPts val="533"/>
              </a:spcBef>
              <a:spcAft>
                <a:spcPts val="533"/>
              </a:spcAft>
              <a:buClr>
                <a:schemeClr val="bg1"/>
              </a:buClr>
              <a:buSzPts val="1100"/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Конференции</a:t>
            </a:r>
          </a:p>
          <a:p>
            <a:pPr marL="171450" indent="-171450">
              <a:spcBef>
                <a:spcPts val="533"/>
              </a:spcBef>
              <a:spcAft>
                <a:spcPts val="533"/>
              </a:spcAft>
              <a:buClr>
                <a:schemeClr val="bg1"/>
              </a:buClr>
              <a:buSzPts val="1100"/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Мероприятия</a:t>
            </a:r>
          </a:p>
          <a:p>
            <a:pPr marL="171450" indent="-171450">
              <a:spcBef>
                <a:spcPts val="533"/>
              </a:spcBef>
              <a:spcAft>
                <a:spcPts val="533"/>
              </a:spcAft>
              <a:buClr>
                <a:schemeClr val="bg1"/>
              </a:buClr>
              <a:buSzPts val="1100"/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Нетворкинг</a:t>
            </a:r>
          </a:p>
          <a:p>
            <a:pPr marL="171450" indent="-171450">
              <a:spcBef>
                <a:spcPts val="533"/>
              </a:spcBef>
              <a:spcAft>
                <a:spcPts val="533"/>
              </a:spcAft>
              <a:buClr>
                <a:schemeClr val="bg1"/>
              </a:buClr>
              <a:buSzPts val="1100"/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Моб. приложение</a:t>
            </a:r>
            <a:endParaRPr sz="1200" dirty="0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563" name="Google Shape;563;p43"/>
          <p:cNvSpPr txBox="1"/>
          <p:nvPr/>
        </p:nvSpPr>
        <p:spPr>
          <a:xfrm>
            <a:off x="8844128" y="1003767"/>
            <a:ext cx="1962800" cy="3977600"/>
          </a:xfrm>
          <a:prstGeom prst="rect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ru-RU" sz="1200" b="1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Сегменты клиентов</a:t>
            </a:r>
            <a:endParaRPr sz="1200" b="1" dirty="0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marL="171450" indent="-171450">
              <a:spcBef>
                <a:spcPts val="533"/>
              </a:spcBef>
              <a:spcAft>
                <a:spcPts val="533"/>
              </a:spcAft>
              <a:buClr>
                <a:schemeClr val="bg1"/>
              </a:buClr>
              <a:buSzPts val="1100"/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Начинающие предприниматели</a:t>
            </a:r>
          </a:p>
          <a:p>
            <a:pPr marL="171450" indent="-171450">
              <a:spcBef>
                <a:spcPts val="533"/>
              </a:spcBef>
              <a:spcAft>
                <a:spcPts val="533"/>
              </a:spcAft>
              <a:buClr>
                <a:schemeClr val="bg1"/>
              </a:buClr>
              <a:buSzPts val="1100"/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Студенты, получившие грант ФСИ</a:t>
            </a:r>
          </a:p>
        </p:txBody>
      </p:sp>
      <p:sp>
        <p:nvSpPr>
          <p:cNvPr id="564" name="Google Shape;564;p43"/>
          <p:cNvSpPr txBox="1"/>
          <p:nvPr/>
        </p:nvSpPr>
        <p:spPr>
          <a:xfrm>
            <a:off x="992100" y="1003767"/>
            <a:ext cx="1962800" cy="3977600"/>
          </a:xfrm>
          <a:prstGeom prst="rect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ru-RU" sz="1200" b="1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Основные</a:t>
            </a:r>
          </a:p>
          <a:p>
            <a:r>
              <a:rPr lang="ru-RU" sz="1200" b="1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партнёры</a:t>
            </a:r>
            <a:endParaRPr sz="1200" b="1" dirty="0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 marL="171450" indent="-171450">
              <a:spcBef>
                <a:spcPts val="533"/>
              </a:spcBef>
              <a:spcAft>
                <a:spcPts val="533"/>
              </a:spcAft>
              <a:buClr>
                <a:schemeClr val="bg1"/>
              </a:buClr>
              <a:buSzPts val="1100"/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ФСИ</a:t>
            </a:r>
          </a:p>
          <a:p>
            <a:pPr marL="171450" indent="-171450">
              <a:spcBef>
                <a:spcPts val="533"/>
              </a:spcBef>
              <a:spcAft>
                <a:spcPts val="533"/>
              </a:spcAft>
              <a:buClr>
                <a:schemeClr val="bg1"/>
              </a:buClr>
              <a:buSzPts val="1100"/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Акселераторы</a:t>
            </a:r>
          </a:p>
          <a:p>
            <a:pPr marL="171450" indent="-171450">
              <a:spcBef>
                <a:spcPts val="533"/>
              </a:spcBef>
              <a:spcAft>
                <a:spcPts val="533"/>
              </a:spcAft>
              <a:buClr>
                <a:schemeClr val="bg1"/>
              </a:buClr>
              <a:buSzPts val="1100"/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Мой бизнес</a:t>
            </a:r>
          </a:p>
          <a:p>
            <a:pPr marL="171450" indent="-171450">
              <a:spcBef>
                <a:spcPts val="533"/>
              </a:spcBef>
              <a:spcAft>
                <a:spcPts val="533"/>
              </a:spcAft>
              <a:buClr>
                <a:schemeClr val="bg1"/>
              </a:buClr>
              <a:buSzPts val="1100"/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Цифровая платформа МСП</a:t>
            </a:r>
          </a:p>
          <a:p>
            <a:pPr marL="171450" indent="-171450">
              <a:spcBef>
                <a:spcPts val="533"/>
              </a:spcBef>
              <a:spcAft>
                <a:spcPts val="533"/>
              </a:spcAft>
              <a:buClr>
                <a:schemeClr val="bg1"/>
              </a:buClr>
              <a:buSzPts val="1100"/>
              <a:buFont typeface="Arial" panose="020B0604020202020204" pitchFamily="34" charset="0"/>
              <a:buChar char="•"/>
            </a:pPr>
            <a:endParaRPr lang="ru-RU" sz="1067" dirty="0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565" name="Google Shape;565;p43"/>
          <p:cNvSpPr txBox="1"/>
          <p:nvPr/>
        </p:nvSpPr>
        <p:spPr>
          <a:xfrm>
            <a:off x="992100" y="4981533"/>
            <a:ext cx="4907600" cy="1540400"/>
          </a:xfrm>
          <a:prstGeom prst="rect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ru-RU" sz="1200" b="1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Структура расхода</a:t>
            </a:r>
            <a:endParaRPr sz="1200" b="1" dirty="0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>
              <a:spcBef>
                <a:spcPts val="533"/>
              </a:spcBef>
              <a:spcAft>
                <a:spcPts val="533"/>
              </a:spcAft>
              <a:buClr>
                <a:schemeClr val="dk1"/>
              </a:buClr>
              <a:buSzPts val="1100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Доработка и продвижение платформы, маркетинг, мероприятия, аренда помещения, фонд оплаты труда (ФОТ)</a:t>
            </a:r>
            <a:endParaRPr sz="1200" b="1" dirty="0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566" name="Google Shape;566;p43"/>
          <p:cNvSpPr txBox="1"/>
          <p:nvPr/>
        </p:nvSpPr>
        <p:spPr>
          <a:xfrm>
            <a:off x="5899617" y="4981533"/>
            <a:ext cx="4907600" cy="1540400"/>
          </a:xfrm>
          <a:prstGeom prst="rect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ru-RU" sz="1200" b="1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Потоки выручки</a:t>
            </a:r>
            <a:endParaRPr sz="1200" b="1" dirty="0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  <a:p>
            <a:pPr>
              <a:spcBef>
                <a:spcPts val="533"/>
              </a:spcBef>
              <a:spcAft>
                <a:spcPts val="533"/>
              </a:spcAft>
              <a:buClr>
                <a:schemeClr val="dk1"/>
              </a:buClr>
              <a:buSzPts val="1100"/>
            </a:pPr>
            <a:r>
              <a:rPr lang="ru-RU" sz="1067" dirty="0">
                <a:solidFill>
                  <a:schemeClr val="lt1"/>
                </a:solidFill>
                <a:latin typeface="Fira Sans"/>
                <a:ea typeface="Fira Sans"/>
                <a:cs typeface="Fira Sans"/>
                <a:sym typeface="Fira Sans"/>
              </a:rPr>
              <a:t>Оказание консультационных услуг, оказание услуг по сопровождению, проведение мероприятий, реклама, подписка.</a:t>
            </a:r>
            <a:endParaRPr sz="1200" b="1" dirty="0">
              <a:solidFill>
                <a:schemeClr val="lt1"/>
              </a:solidFill>
              <a:latin typeface="Fira Sans"/>
              <a:ea typeface="Fira Sans"/>
              <a:cs typeface="Fira Sans"/>
              <a:sym typeface="Fira Sans"/>
            </a:endParaRPr>
          </a:p>
        </p:txBody>
      </p:sp>
      <p:sp>
        <p:nvSpPr>
          <p:cNvPr id="567" name="Google Shape;567;p43"/>
          <p:cNvSpPr/>
          <p:nvPr/>
        </p:nvSpPr>
        <p:spPr>
          <a:xfrm>
            <a:off x="5528929" y="5084727"/>
            <a:ext cx="269115" cy="228274"/>
          </a:xfrm>
          <a:custGeom>
            <a:avLst/>
            <a:gdLst/>
            <a:ahLst/>
            <a:cxnLst/>
            <a:rect l="l" t="t" r="r" b="b"/>
            <a:pathLst>
              <a:path w="16756" h="16658" extrusionOk="0">
                <a:moveTo>
                  <a:pt x="13287" y="2565"/>
                </a:moveTo>
                <a:lnTo>
                  <a:pt x="13482" y="2590"/>
                </a:lnTo>
                <a:lnTo>
                  <a:pt x="13653" y="2663"/>
                </a:lnTo>
                <a:lnTo>
                  <a:pt x="13800" y="2736"/>
                </a:lnTo>
                <a:lnTo>
                  <a:pt x="13922" y="2858"/>
                </a:lnTo>
                <a:lnTo>
                  <a:pt x="14069" y="3005"/>
                </a:lnTo>
                <a:lnTo>
                  <a:pt x="14142" y="3176"/>
                </a:lnTo>
                <a:lnTo>
                  <a:pt x="14191" y="3371"/>
                </a:lnTo>
                <a:lnTo>
                  <a:pt x="14215" y="3567"/>
                </a:lnTo>
                <a:lnTo>
                  <a:pt x="14191" y="3738"/>
                </a:lnTo>
                <a:lnTo>
                  <a:pt x="14142" y="3884"/>
                </a:lnTo>
                <a:lnTo>
                  <a:pt x="14069" y="4055"/>
                </a:lnTo>
                <a:lnTo>
                  <a:pt x="13922" y="4202"/>
                </a:lnTo>
                <a:lnTo>
                  <a:pt x="13800" y="4348"/>
                </a:lnTo>
                <a:lnTo>
                  <a:pt x="13653" y="4446"/>
                </a:lnTo>
                <a:lnTo>
                  <a:pt x="13482" y="4495"/>
                </a:lnTo>
                <a:lnTo>
                  <a:pt x="13067" y="4495"/>
                </a:lnTo>
                <a:lnTo>
                  <a:pt x="12896" y="4446"/>
                </a:lnTo>
                <a:lnTo>
                  <a:pt x="12725" y="4348"/>
                </a:lnTo>
                <a:lnTo>
                  <a:pt x="12554" y="4202"/>
                </a:lnTo>
                <a:lnTo>
                  <a:pt x="12481" y="4055"/>
                </a:lnTo>
                <a:lnTo>
                  <a:pt x="12408" y="3884"/>
                </a:lnTo>
                <a:lnTo>
                  <a:pt x="12359" y="3738"/>
                </a:lnTo>
                <a:lnTo>
                  <a:pt x="12359" y="3567"/>
                </a:lnTo>
                <a:lnTo>
                  <a:pt x="12359" y="3371"/>
                </a:lnTo>
                <a:lnTo>
                  <a:pt x="12408" y="3176"/>
                </a:lnTo>
                <a:lnTo>
                  <a:pt x="12481" y="3005"/>
                </a:lnTo>
                <a:lnTo>
                  <a:pt x="12554" y="2858"/>
                </a:lnTo>
                <a:lnTo>
                  <a:pt x="12725" y="2736"/>
                </a:lnTo>
                <a:lnTo>
                  <a:pt x="12896" y="2663"/>
                </a:lnTo>
                <a:lnTo>
                  <a:pt x="13067" y="2590"/>
                </a:lnTo>
                <a:lnTo>
                  <a:pt x="13287" y="2565"/>
                </a:lnTo>
                <a:close/>
                <a:moveTo>
                  <a:pt x="10845" y="1"/>
                </a:moveTo>
                <a:lnTo>
                  <a:pt x="10527" y="25"/>
                </a:lnTo>
                <a:lnTo>
                  <a:pt x="10210" y="74"/>
                </a:lnTo>
                <a:lnTo>
                  <a:pt x="9868" y="172"/>
                </a:lnTo>
                <a:lnTo>
                  <a:pt x="9477" y="318"/>
                </a:lnTo>
                <a:lnTo>
                  <a:pt x="9184" y="489"/>
                </a:lnTo>
                <a:lnTo>
                  <a:pt x="8891" y="660"/>
                </a:lnTo>
                <a:lnTo>
                  <a:pt x="8622" y="831"/>
                </a:lnTo>
                <a:lnTo>
                  <a:pt x="8525" y="953"/>
                </a:lnTo>
                <a:lnTo>
                  <a:pt x="8427" y="1051"/>
                </a:lnTo>
                <a:lnTo>
                  <a:pt x="416" y="8866"/>
                </a:lnTo>
                <a:lnTo>
                  <a:pt x="270" y="9086"/>
                </a:lnTo>
                <a:lnTo>
                  <a:pt x="123" y="9355"/>
                </a:lnTo>
                <a:lnTo>
                  <a:pt x="25" y="9624"/>
                </a:lnTo>
                <a:lnTo>
                  <a:pt x="1" y="9746"/>
                </a:lnTo>
                <a:lnTo>
                  <a:pt x="1" y="9917"/>
                </a:lnTo>
                <a:lnTo>
                  <a:pt x="1" y="10039"/>
                </a:lnTo>
                <a:lnTo>
                  <a:pt x="25" y="10136"/>
                </a:lnTo>
                <a:lnTo>
                  <a:pt x="123" y="10381"/>
                </a:lnTo>
                <a:lnTo>
                  <a:pt x="270" y="10625"/>
                </a:lnTo>
                <a:lnTo>
                  <a:pt x="416" y="10869"/>
                </a:lnTo>
                <a:lnTo>
                  <a:pt x="5911" y="16242"/>
                </a:lnTo>
                <a:lnTo>
                  <a:pt x="6009" y="16340"/>
                </a:lnTo>
                <a:lnTo>
                  <a:pt x="6131" y="16438"/>
                </a:lnTo>
                <a:lnTo>
                  <a:pt x="6253" y="16511"/>
                </a:lnTo>
                <a:lnTo>
                  <a:pt x="6400" y="16560"/>
                </a:lnTo>
                <a:lnTo>
                  <a:pt x="6522" y="16609"/>
                </a:lnTo>
                <a:lnTo>
                  <a:pt x="6668" y="16633"/>
                </a:lnTo>
                <a:lnTo>
                  <a:pt x="6961" y="16657"/>
                </a:lnTo>
                <a:lnTo>
                  <a:pt x="7206" y="16633"/>
                </a:lnTo>
                <a:lnTo>
                  <a:pt x="7474" y="16560"/>
                </a:lnTo>
                <a:lnTo>
                  <a:pt x="7596" y="16511"/>
                </a:lnTo>
                <a:lnTo>
                  <a:pt x="7719" y="16438"/>
                </a:lnTo>
                <a:lnTo>
                  <a:pt x="7816" y="16340"/>
                </a:lnTo>
                <a:lnTo>
                  <a:pt x="7914" y="16242"/>
                </a:lnTo>
                <a:lnTo>
                  <a:pt x="15803" y="8427"/>
                </a:lnTo>
                <a:lnTo>
                  <a:pt x="15974" y="8183"/>
                </a:lnTo>
                <a:lnTo>
                  <a:pt x="16169" y="7938"/>
                </a:lnTo>
                <a:lnTo>
                  <a:pt x="16242" y="7792"/>
                </a:lnTo>
                <a:lnTo>
                  <a:pt x="16340" y="7645"/>
                </a:lnTo>
                <a:lnTo>
                  <a:pt x="16389" y="7474"/>
                </a:lnTo>
                <a:lnTo>
                  <a:pt x="16438" y="7279"/>
                </a:lnTo>
                <a:lnTo>
                  <a:pt x="16584" y="6961"/>
                </a:lnTo>
                <a:lnTo>
                  <a:pt x="16682" y="6644"/>
                </a:lnTo>
                <a:lnTo>
                  <a:pt x="16731" y="6326"/>
                </a:lnTo>
                <a:lnTo>
                  <a:pt x="16755" y="6009"/>
                </a:lnTo>
                <a:lnTo>
                  <a:pt x="16755" y="1491"/>
                </a:lnTo>
                <a:lnTo>
                  <a:pt x="16731" y="1173"/>
                </a:lnTo>
                <a:lnTo>
                  <a:pt x="16706" y="1051"/>
                </a:lnTo>
                <a:lnTo>
                  <a:pt x="16657" y="905"/>
                </a:lnTo>
                <a:lnTo>
                  <a:pt x="16609" y="782"/>
                </a:lnTo>
                <a:lnTo>
                  <a:pt x="16535" y="660"/>
                </a:lnTo>
                <a:lnTo>
                  <a:pt x="16438" y="538"/>
                </a:lnTo>
                <a:lnTo>
                  <a:pt x="16340" y="416"/>
                </a:lnTo>
                <a:lnTo>
                  <a:pt x="16144" y="270"/>
                </a:lnTo>
                <a:lnTo>
                  <a:pt x="15900" y="123"/>
                </a:lnTo>
                <a:lnTo>
                  <a:pt x="15632" y="50"/>
                </a:lnTo>
                <a:lnTo>
                  <a:pt x="15509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chemeClr val="dk1"/>
              </a:solidFill>
            </a:endParaRPr>
          </a:p>
        </p:txBody>
      </p:sp>
      <p:sp>
        <p:nvSpPr>
          <p:cNvPr id="568" name="Google Shape;568;p43"/>
          <p:cNvSpPr/>
          <p:nvPr/>
        </p:nvSpPr>
        <p:spPr>
          <a:xfrm>
            <a:off x="8518888" y="1105371"/>
            <a:ext cx="223630" cy="235905"/>
          </a:xfrm>
          <a:custGeom>
            <a:avLst/>
            <a:gdLst/>
            <a:ahLst/>
            <a:cxnLst/>
            <a:rect l="l" t="t" r="r" b="b"/>
            <a:pathLst>
              <a:path w="16706" h="14997" extrusionOk="0">
                <a:moveTo>
                  <a:pt x="4299" y="0"/>
                </a:moveTo>
                <a:lnTo>
                  <a:pt x="3859" y="25"/>
                </a:lnTo>
                <a:lnTo>
                  <a:pt x="3444" y="74"/>
                </a:lnTo>
                <a:lnTo>
                  <a:pt x="3029" y="196"/>
                </a:lnTo>
                <a:lnTo>
                  <a:pt x="2614" y="342"/>
                </a:lnTo>
                <a:lnTo>
                  <a:pt x="2247" y="513"/>
                </a:lnTo>
                <a:lnTo>
                  <a:pt x="1905" y="733"/>
                </a:lnTo>
                <a:lnTo>
                  <a:pt x="1563" y="977"/>
                </a:lnTo>
                <a:lnTo>
                  <a:pt x="1270" y="1246"/>
                </a:lnTo>
                <a:lnTo>
                  <a:pt x="977" y="1563"/>
                </a:lnTo>
                <a:lnTo>
                  <a:pt x="733" y="1881"/>
                </a:lnTo>
                <a:lnTo>
                  <a:pt x="513" y="2247"/>
                </a:lnTo>
                <a:lnTo>
                  <a:pt x="342" y="2614"/>
                </a:lnTo>
                <a:lnTo>
                  <a:pt x="196" y="3004"/>
                </a:lnTo>
                <a:lnTo>
                  <a:pt x="98" y="3420"/>
                </a:lnTo>
                <a:lnTo>
                  <a:pt x="25" y="3859"/>
                </a:lnTo>
                <a:lnTo>
                  <a:pt x="0" y="4299"/>
                </a:lnTo>
                <a:lnTo>
                  <a:pt x="0" y="4592"/>
                </a:lnTo>
                <a:lnTo>
                  <a:pt x="25" y="4885"/>
                </a:lnTo>
                <a:lnTo>
                  <a:pt x="122" y="5447"/>
                </a:lnTo>
                <a:lnTo>
                  <a:pt x="245" y="6008"/>
                </a:lnTo>
                <a:lnTo>
                  <a:pt x="440" y="6546"/>
                </a:lnTo>
                <a:lnTo>
                  <a:pt x="660" y="7059"/>
                </a:lnTo>
                <a:lnTo>
                  <a:pt x="928" y="7547"/>
                </a:lnTo>
                <a:lnTo>
                  <a:pt x="1197" y="8011"/>
                </a:lnTo>
                <a:lnTo>
                  <a:pt x="1515" y="8475"/>
                </a:lnTo>
                <a:lnTo>
                  <a:pt x="1856" y="8915"/>
                </a:lnTo>
                <a:lnTo>
                  <a:pt x="2198" y="9330"/>
                </a:lnTo>
                <a:lnTo>
                  <a:pt x="2565" y="9745"/>
                </a:lnTo>
                <a:lnTo>
                  <a:pt x="2931" y="10136"/>
                </a:lnTo>
                <a:lnTo>
                  <a:pt x="3639" y="10869"/>
                </a:lnTo>
                <a:lnTo>
                  <a:pt x="4299" y="11528"/>
                </a:lnTo>
                <a:lnTo>
                  <a:pt x="4861" y="12065"/>
                </a:lnTo>
                <a:lnTo>
                  <a:pt x="5496" y="12627"/>
                </a:lnTo>
                <a:lnTo>
                  <a:pt x="6839" y="13775"/>
                </a:lnTo>
                <a:lnTo>
                  <a:pt x="7913" y="14654"/>
                </a:lnTo>
                <a:lnTo>
                  <a:pt x="8353" y="14996"/>
                </a:lnTo>
                <a:lnTo>
                  <a:pt x="8793" y="14654"/>
                </a:lnTo>
                <a:lnTo>
                  <a:pt x="9843" y="13799"/>
                </a:lnTo>
                <a:lnTo>
                  <a:pt x="11186" y="12651"/>
                </a:lnTo>
                <a:lnTo>
                  <a:pt x="11821" y="12090"/>
                </a:lnTo>
                <a:lnTo>
                  <a:pt x="12407" y="11528"/>
                </a:lnTo>
                <a:lnTo>
                  <a:pt x="13067" y="10869"/>
                </a:lnTo>
                <a:lnTo>
                  <a:pt x="13775" y="10136"/>
                </a:lnTo>
                <a:lnTo>
                  <a:pt x="14141" y="9745"/>
                </a:lnTo>
                <a:lnTo>
                  <a:pt x="14508" y="9330"/>
                </a:lnTo>
                <a:lnTo>
                  <a:pt x="14850" y="8915"/>
                </a:lnTo>
                <a:lnTo>
                  <a:pt x="15191" y="8475"/>
                </a:lnTo>
                <a:lnTo>
                  <a:pt x="15509" y="8011"/>
                </a:lnTo>
                <a:lnTo>
                  <a:pt x="15778" y="7547"/>
                </a:lnTo>
                <a:lnTo>
                  <a:pt x="16046" y="7059"/>
                </a:lnTo>
                <a:lnTo>
                  <a:pt x="16266" y="6546"/>
                </a:lnTo>
                <a:lnTo>
                  <a:pt x="16461" y="6008"/>
                </a:lnTo>
                <a:lnTo>
                  <a:pt x="16584" y="5447"/>
                </a:lnTo>
                <a:lnTo>
                  <a:pt x="16681" y="4885"/>
                </a:lnTo>
                <a:lnTo>
                  <a:pt x="16706" y="4592"/>
                </a:lnTo>
                <a:lnTo>
                  <a:pt x="16706" y="4299"/>
                </a:lnTo>
                <a:lnTo>
                  <a:pt x="16681" y="3859"/>
                </a:lnTo>
                <a:lnTo>
                  <a:pt x="16608" y="3420"/>
                </a:lnTo>
                <a:lnTo>
                  <a:pt x="16510" y="3004"/>
                </a:lnTo>
                <a:lnTo>
                  <a:pt x="16364" y="2614"/>
                </a:lnTo>
                <a:lnTo>
                  <a:pt x="16193" y="2247"/>
                </a:lnTo>
                <a:lnTo>
                  <a:pt x="15973" y="1881"/>
                </a:lnTo>
                <a:lnTo>
                  <a:pt x="15729" y="1563"/>
                </a:lnTo>
                <a:lnTo>
                  <a:pt x="15436" y="1246"/>
                </a:lnTo>
                <a:lnTo>
                  <a:pt x="15143" y="977"/>
                </a:lnTo>
                <a:lnTo>
                  <a:pt x="14801" y="733"/>
                </a:lnTo>
                <a:lnTo>
                  <a:pt x="14459" y="513"/>
                </a:lnTo>
                <a:lnTo>
                  <a:pt x="14092" y="342"/>
                </a:lnTo>
                <a:lnTo>
                  <a:pt x="13677" y="196"/>
                </a:lnTo>
                <a:lnTo>
                  <a:pt x="13262" y="74"/>
                </a:lnTo>
                <a:lnTo>
                  <a:pt x="12847" y="25"/>
                </a:lnTo>
                <a:lnTo>
                  <a:pt x="12407" y="0"/>
                </a:lnTo>
                <a:lnTo>
                  <a:pt x="12065" y="0"/>
                </a:lnTo>
                <a:lnTo>
                  <a:pt x="11723" y="49"/>
                </a:lnTo>
                <a:lnTo>
                  <a:pt x="11381" y="122"/>
                </a:lnTo>
                <a:lnTo>
                  <a:pt x="11064" y="196"/>
                </a:lnTo>
                <a:lnTo>
                  <a:pt x="10746" y="318"/>
                </a:lnTo>
                <a:lnTo>
                  <a:pt x="10453" y="464"/>
                </a:lnTo>
                <a:lnTo>
                  <a:pt x="10160" y="611"/>
                </a:lnTo>
                <a:lnTo>
                  <a:pt x="9892" y="806"/>
                </a:lnTo>
                <a:lnTo>
                  <a:pt x="9647" y="1002"/>
                </a:lnTo>
                <a:lnTo>
                  <a:pt x="9403" y="1221"/>
                </a:lnTo>
                <a:lnTo>
                  <a:pt x="9183" y="1466"/>
                </a:lnTo>
                <a:lnTo>
                  <a:pt x="8964" y="1710"/>
                </a:lnTo>
                <a:lnTo>
                  <a:pt x="8793" y="1979"/>
                </a:lnTo>
                <a:lnTo>
                  <a:pt x="8622" y="2272"/>
                </a:lnTo>
                <a:lnTo>
                  <a:pt x="8475" y="2565"/>
                </a:lnTo>
                <a:lnTo>
                  <a:pt x="8353" y="2858"/>
                </a:lnTo>
                <a:lnTo>
                  <a:pt x="8231" y="2565"/>
                </a:lnTo>
                <a:lnTo>
                  <a:pt x="8084" y="2272"/>
                </a:lnTo>
                <a:lnTo>
                  <a:pt x="7913" y="1979"/>
                </a:lnTo>
                <a:lnTo>
                  <a:pt x="7742" y="1710"/>
                </a:lnTo>
                <a:lnTo>
                  <a:pt x="7523" y="1466"/>
                </a:lnTo>
                <a:lnTo>
                  <a:pt x="7303" y="1221"/>
                </a:lnTo>
                <a:lnTo>
                  <a:pt x="7059" y="1002"/>
                </a:lnTo>
                <a:lnTo>
                  <a:pt x="6814" y="806"/>
                </a:lnTo>
                <a:lnTo>
                  <a:pt x="6546" y="611"/>
                </a:lnTo>
                <a:lnTo>
                  <a:pt x="6253" y="464"/>
                </a:lnTo>
                <a:lnTo>
                  <a:pt x="5960" y="318"/>
                </a:lnTo>
                <a:lnTo>
                  <a:pt x="5642" y="196"/>
                </a:lnTo>
                <a:lnTo>
                  <a:pt x="5325" y="122"/>
                </a:lnTo>
                <a:lnTo>
                  <a:pt x="4983" y="49"/>
                </a:lnTo>
                <a:lnTo>
                  <a:pt x="464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chemeClr val="dk1"/>
              </a:solidFill>
            </a:endParaRPr>
          </a:p>
        </p:txBody>
      </p:sp>
      <p:sp>
        <p:nvSpPr>
          <p:cNvPr id="569" name="Google Shape;569;p43"/>
          <p:cNvSpPr/>
          <p:nvPr/>
        </p:nvSpPr>
        <p:spPr>
          <a:xfrm>
            <a:off x="2606805" y="1142197"/>
            <a:ext cx="281532" cy="220822"/>
          </a:xfrm>
          <a:custGeom>
            <a:avLst/>
            <a:gdLst/>
            <a:ahLst/>
            <a:cxnLst/>
            <a:rect l="l" t="t" r="r" b="b"/>
            <a:pathLst>
              <a:path w="16072" h="16071" extrusionOk="0">
                <a:moveTo>
                  <a:pt x="8036" y="0"/>
                </a:moveTo>
                <a:lnTo>
                  <a:pt x="7938" y="24"/>
                </a:lnTo>
                <a:lnTo>
                  <a:pt x="7792" y="98"/>
                </a:lnTo>
                <a:lnTo>
                  <a:pt x="7328" y="366"/>
                </a:lnTo>
                <a:lnTo>
                  <a:pt x="7059" y="537"/>
                </a:lnTo>
                <a:lnTo>
                  <a:pt x="6766" y="757"/>
                </a:lnTo>
                <a:lnTo>
                  <a:pt x="6448" y="977"/>
                </a:lnTo>
                <a:lnTo>
                  <a:pt x="6155" y="1246"/>
                </a:lnTo>
                <a:lnTo>
                  <a:pt x="5887" y="1514"/>
                </a:lnTo>
                <a:lnTo>
                  <a:pt x="5643" y="1807"/>
                </a:lnTo>
                <a:lnTo>
                  <a:pt x="5447" y="2100"/>
                </a:lnTo>
                <a:lnTo>
                  <a:pt x="5374" y="2247"/>
                </a:lnTo>
                <a:lnTo>
                  <a:pt x="5325" y="2418"/>
                </a:lnTo>
                <a:lnTo>
                  <a:pt x="5276" y="2564"/>
                </a:lnTo>
                <a:lnTo>
                  <a:pt x="5252" y="2711"/>
                </a:lnTo>
                <a:lnTo>
                  <a:pt x="5252" y="2858"/>
                </a:lnTo>
                <a:lnTo>
                  <a:pt x="5276" y="3029"/>
                </a:lnTo>
                <a:lnTo>
                  <a:pt x="5325" y="3175"/>
                </a:lnTo>
                <a:lnTo>
                  <a:pt x="5398" y="3322"/>
                </a:lnTo>
                <a:lnTo>
                  <a:pt x="5496" y="3468"/>
                </a:lnTo>
                <a:lnTo>
                  <a:pt x="5618" y="3615"/>
                </a:lnTo>
                <a:lnTo>
                  <a:pt x="5814" y="3761"/>
                </a:lnTo>
                <a:lnTo>
                  <a:pt x="6009" y="3859"/>
                </a:lnTo>
                <a:lnTo>
                  <a:pt x="6204" y="3957"/>
                </a:lnTo>
                <a:lnTo>
                  <a:pt x="6424" y="4005"/>
                </a:lnTo>
                <a:lnTo>
                  <a:pt x="6644" y="4054"/>
                </a:lnTo>
                <a:lnTo>
                  <a:pt x="6864" y="4152"/>
                </a:lnTo>
                <a:lnTo>
                  <a:pt x="7059" y="4250"/>
                </a:lnTo>
                <a:lnTo>
                  <a:pt x="7254" y="4421"/>
                </a:lnTo>
                <a:lnTo>
                  <a:pt x="7425" y="4616"/>
                </a:lnTo>
                <a:lnTo>
                  <a:pt x="7523" y="4836"/>
                </a:lnTo>
                <a:lnTo>
                  <a:pt x="7596" y="5080"/>
                </a:lnTo>
                <a:lnTo>
                  <a:pt x="7621" y="5373"/>
                </a:lnTo>
                <a:lnTo>
                  <a:pt x="7596" y="5569"/>
                </a:lnTo>
                <a:lnTo>
                  <a:pt x="7572" y="5788"/>
                </a:lnTo>
                <a:lnTo>
                  <a:pt x="7499" y="5984"/>
                </a:lnTo>
                <a:lnTo>
                  <a:pt x="7425" y="6179"/>
                </a:lnTo>
                <a:lnTo>
                  <a:pt x="7328" y="6374"/>
                </a:lnTo>
                <a:lnTo>
                  <a:pt x="7206" y="6570"/>
                </a:lnTo>
                <a:lnTo>
                  <a:pt x="7059" y="6741"/>
                </a:lnTo>
                <a:lnTo>
                  <a:pt x="6913" y="6912"/>
                </a:lnTo>
                <a:lnTo>
                  <a:pt x="6742" y="7058"/>
                </a:lnTo>
                <a:lnTo>
                  <a:pt x="6571" y="7205"/>
                </a:lnTo>
                <a:lnTo>
                  <a:pt x="6400" y="7303"/>
                </a:lnTo>
                <a:lnTo>
                  <a:pt x="6204" y="7425"/>
                </a:lnTo>
                <a:lnTo>
                  <a:pt x="6009" y="7498"/>
                </a:lnTo>
                <a:lnTo>
                  <a:pt x="5789" y="7571"/>
                </a:lnTo>
                <a:lnTo>
                  <a:pt x="5569" y="7596"/>
                </a:lnTo>
                <a:lnTo>
                  <a:pt x="5374" y="7620"/>
                </a:lnTo>
                <a:lnTo>
                  <a:pt x="5105" y="7596"/>
                </a:lnTo>
                <a:lnTo>
                  <a:pt x="4861" y="7522"/>
                </a:lnTo>
                <a:lnTo>
                  <a:pt x="4617" y="7425"/>
                </a:lnTo>
                <a:lnTo>
                  <a:pt x="4421" y="7254"/>
                </a:lnTo>
                <a:lnTo>
                  <a:pt x="4250" y="7058"/>
                </a:lnTo>
                <a:lnTo>
                  <a:pt x="4128" y="6839"/>
                </a:lnTo>
                <a:lnTo>
                  <a:pt x="4055" y="6619"/>
                </a:lnTo>
                <a:lnTo>
                  <a:pt x="3982" y="6399"/>
                </a:lnTo>
                <a:lnTo>
                  <a:pt x="3933" y="6204"/>
                </a:lnTo>
                <a:lnTo>
                  <a:pt x="3860" y="6008"/>
                </a:lnTo>
                <a:lnTo>
                  <a:pt x="3762" y="5813"/>
                </a:lnTo>
                <a:lnTo>
                  <a:pt x="3615" y="5617"/>
                </a:lnTo>
                <a:lnTo>
                  <a:pt x="3469" y="5495"/>
                </a:lnTo>
                <a:lnTo>
                  <a:pt x="3322" y="5398"/>
                </a:lnTo>
                <a:lnTo>
                  <a:pt x="3176" y="5324"/>
                </a:lnTo>
                <a:lnTo>
                  <a:pt x="3029" y="5275"/>
                </a:lnTo>
                <a:lnTo>
                  <a:pt x="2858" y="5251"/>
                </a:lnTo>
                <a:lnTo>
                  <a:pt x="2712" y="5251"/>
                </a:lnTo>
                <a:lnTo>
                  <a:pt x="2565" y="5275"/>
                </a:lnTo>
                <a:lnTo>
                  <a:pt x="2419" y="5324"/>
                </a:lnTo>
                <a:lnTo>
                  <a:pt x="2248" y="5373"/>
                </a:lnTo>
                <a:lnTo>
                  <a:pt x="2101" y="5446"/>
                </a:lnTo>
                <a:lnTo>
                  <a:pt x="1808" y="5642"/>
                </a:lnTo>
                <a:lnTo>
                  <a:pt x="1515" y="5886"/>
                </a:lnTo>
                <a:lnTo>
                  <a:pt x="1246" y="6155"/>
                </a:lnTo>
                <a:lnTo>
                  <a:pt x="978" y="6448"/>
                </a:lnTo>
                <a:lnTo>
                  <a:pt x="758" y="6765"/>
                </a:lnTo>
                <a:lnTo>
                  <a:pt x="538" y="7058"/>
                </a:lnTo>
                <a:lnTo>
                  <a:pt x="367" y="7327"/>
                </a:lnTo>
                <a:lnTo>
                  <a:pt x="99" y="7791"/>
                </a:lnTo>
                <a:lnTo>
                  <a:pt x="25" y="7938"/>
                </a:lnTo>
                <a:lnTo>
                  <a:pt x="1" y="8035"/>
                </a:lnTo>
                <a:lnTo>
                  <a:pt x="25" y="8231"/>
                </a:lnTo>
                <a:lnTo>
                  <a:pt x="74" y="8402"/>
                </a:lnTo>
                <a:lnTo>
                  <a:pt x="172" y="8597"/>
                </a:lnTo>
                <a:lnTo>
                  <a:pt x="294" y="8744"/>
                </a:lnTo>
                <a:lnTo>
                  <a:pt x="587" y="9012"/>
                </a:lnTo>
                <a:lnTo>
                  <a:pt x="880" y="9256"/>
                </a:lnTo>
                <a:lnTo>
                  <a:pt x="1417" y="9696"/>
                </a:lnTo>
                <a:lnTo>
                  <a:pt x="1906" y="10062"/>
                </a:lnTo>
                <a:lnTo>
                  <a:pt x="2101" y="10233"/>
                </a:lnTo>
                <a:lnTo>
                  <a:pt x="2297" y="10404"/>
                </a:lnTo>
                <a:lnTo>
                  <a:pt x="2419" y="10575"/>
                </a:lnTo>
                <a:lnTo>
                  <a:pt x="2541" y="10746"/>
                </a:lnTo>
                <a:lnTo>
                  <a:pt x="2590" y="10917"/>
                </a:lnTo>
                <a:lnTo>
                  <a:pt x="2590" y="11113"/>
                </a:lnTo>
                <a:lnTo>
                  <a:pt x="2541" y="11308"/>
                </a:lnTo>
                <a:lnTo>
                  <a:pt x="2443" y="11528"/>
                </a:lnTo>
                <a:lnTo>
                  <a:pt x="2272" y="11772"/>
                </a:lnTo>
                <a:lnTo>
                  <a:pt x="2004" y="12041"/>
                </a:lnTo>
                <a:lnTo>
                  <a:pt x="1833" y="12212"/>
                </a:lnTo>
                <a:lnTo>
                  <a:pt x="1637" y="12309"/>
                </a:lnTo>
                <a:lnTo>
                  <a:pt x="1417" y="12383"/>
                </a:lnTo>
                <a:lnTo>
                  <a:pt x="1222" y="12431"/>
                </a:lnTo>
                <a:lnTo>
                  <a:pt x="1002" y="12480"/>
                </a:lnTo>
                <a:lnTo>
                  <a:pt x="782" y="12578"/>
                </a:lnTo>
                <a:lnTo>
                  <a:pt x="587" y="12700"/>
                </a:lnTo>
                <a:lnTo>
                  <a:pt x="367" y="12871"/>
                </a:lnTo>
                <a:lnTo>
                  <a:pt x="196" y="13066"/>
                </a:lnTo>
                <a:lnTo>
                  <a:pt x="99" y="13286"/>
                </a:lnTo>
                <a:lnTo>
                  <a:pt x="25" y="13530"/>
                </a:lnTo>
                <a:lnTo>
                  <a:pt x="1" y="13799"/>
                </a:lnTo>
                <a:lnTo>
                  <a:pt x="25" y="14019"/>
                </a:lnTo>
                <a:lnTo>
                  <a:pt x="50" y="14239"/>
                </a:lnTo>
                <a:lnTo>
                  <a:pt x="123" y="14434"/>
                </a:lnTo>
                <a:lnTo>
                  <a:pt x="221" y="14654"/>
                </a:lnTo>
                <a:lnTo>
                  <a:pt x="318" y="14825"/>
                </a:lnTo>
                <a:lnTo>
                  <a:pt x="440" y="15020"/>
                </a:lnTo>
                <a:lnTo>
                  <a:pt x="563" y="15191"/>
                </a:lnTo>
                <a:lnTo>
                  <a:pt x="709" y="15362"/>
                </a:lnTo>
                <a:lnTo>
                  <a:pt x="880" y="15509"/>
                </a:lnTo>
                <a:lnTo>
                  <a:pt x="1051" y="15631"/>
                </a:lnTo>
                <a:lnTo>
                  <a:pt x="1246" y="15753"/>
                </a:lnTo>
                <a:lnTo>
                  <a:pt x="1442" y="15875"/>
                </a:lnTo>
                <a:lnTo>
                  <a:pt x="1637" y="15948"/>
                </a:lnTo>
                <a:lnTo>
                  <a:pt x="1857" y="16022"/>
                </a:lnTo>
                <a:lnTo>
                  <a:pt x="2052" y="16046"/>
                </a:lnTo>
                <a:lnTo>
                  <a:pt x="2272" y="16070"/>
                </a:lnTo>
                <a:lnTo>
                  <a:pt x="2541" y="16046"/>
                </a:lnTo>
                <a:lnTo>
                  <a:pt x="2785" y="15973"/>
                </a:lnTo>
                <a:lnTo>
                  <a:pt x="3005" y="15875"/>
                </a:lnTo>
                <a:lnTo>
                  <a:pt x="3200" y="15704"/>
                </a:lnTo>
                <a:lnTo>
                  <a:pt x="3371" y="15509"/>
                </a:lnTo>
                <a:lnTo>
                  <a:pt x="3493" y="15289"/>
                </a:lnTo>
                <a:lnTo>
                  <a:pt x="3567" y="15094"/>
                </a:lnTo>
                <a:lnTo>
                  <a:pt x="3615" y="14874"/>
                </a:lnTo>
                <a:lnTo>
                  <a:pt x="3689" y="14654"/>
                </a:lnTo>
                <a:lnTo>
                  <a:pt x="3762" y="14459"/>
                </a:lnTo>
                <a:lnTo>
                  <a:pt x="3860" y="14239"/>
                </a:lnTo>
                <a:lnTo>
                  <a:pt x="4031" y="14068"/>
                </a:lnTo>
                <a:lnTo>
                  <a:pt x="4299" y="13824"/>
                </a:lnTo>
                <a:lnTo>
                  <a:pt x="4544" y="13628"/>
                </a:lnTo>
                <a:lnTo>
                  <a:pt x="4763" y="13530"/>
                </a:lnTo>
                <a:lnTo>
                  <a:pt x="4959" y="13482"/>
                </a:lnTo>
                <a:lnTo>
                  <a:pt x="5154" y="13482"/>
                </a:lnTo>
                <a:lnTo>
                  <a:pt x="5325" y="13530"/>
                </a:lnTo>
                <a:lnTo>
                  <a:pt x="5496" y="13653"/>
                </a:lnTo>
                <a:lnTo>
                  <a:pt x="5667" y="13775"/>
                </a:lnTo>
                <a:lnTo>
                  <a:pt x="5838" y="13970"/>
                </a:lnTo>
                <a:lnTo>
                  <a:pt x="6009" y="14165"/>
                </a:lnTo>
                <a:lnTo>
                  <a:pt x="6375" y="14654"/>
                </a:lnTo>
                <a:lnTo>
                  <a:pt x="6815" y="15191"/>
                </a:lnTo>
                <a:lnTo>
                  <a:pt x="7059" y="15484"/>
                </a:lnTo>
                <a:lnTo>
                  <a:pt x="7328" y="15777"/>
                </a:lnTo>
                <a:lnTo>
                  <a:pt x="7474" y="15899"/>
                </a:lnTo>
                <a:lnTo>
                  <a:pt x="7670" y="15997"/>
                </a:lnTo>
                <a:lnTo>
                  <a:pt x="7841" y="16046"/>
                </a:lnTo>
                <a:lnTo>
                  <a:pt x="8036" y="16070"/>
                </a:lnTo>
                <a:lnTo>
                  <a:pt x="8134" y="16046"/>
                </a:lnTo>
                <a:lnTo>
                  <a:pt x="8280" y="15973"/>
                </a:lnTo>
                <a:lnTo>
                  <a:pt x="8744" y="15704"/>
                </a:lnTo>
                <a:lnTo>
                  <a:pt x="9013" y="15533"/>
                </a:lnTo>
                <a:lnTo>
                  <a:pt x="9306" y="15313"/>
                </a:lnTo>
                <a:lnTo>
                  <a:pt x="9623" y="15094"/>
                </a:lnTo>
                <a:lnTo>
                  <a:pt x="9917" y="14825"/>
                </a:lnTo>
                <a:lnTo>
                  <a:pt x="10185" y="14556"/>
                </a:lnTo>
                <a:lnTo>
                  <a:pt x="10429" y="14263"/>
                </a:lnTo>
                <a:lnTo>
                  <a:pt x="10625" y="13970"/>
                </a:lnTo>
                <a:lnTo>
                  <a:pt x="10698" y="13824"/>
                </a:lnTo>
                <a:lnTo>
                  <a:pt x="10747" y="13653"/>
                </a:lnTo>
                <a:lnTo>
                  <a:pt x="10796" y="13506"/>
                </a:lnTo>
                <a:lnTo>
                  <a:pt x="10820" y="13359"/>
                </a:lnTo>
                <a:lnTo>
                  <a:pt x="10820" y="13213"/>
                </a:lnTo>
                <a:lnTo>
                  <a:pt x="10796" y="13042"/>
                </a:lnTo>
                <a:lnTo>
                  <a:pt x="10747" y="12895"/>
                </a:lnTo>
                <a:lnTo>
                  <a:pt x="10674" y="12749"/>
                </a:lnTo>
                <a:lnTo>
                  <a:pt x="10576" y="12602"/>
                </a:lnTo>
                <a:lnTo>
                  <a:pt x="10454" y="12456"/>
                </a:lnTo>
                <a:lnTo>
                  <a:pt x="10258" y="12309"/>
                </a:lnTo>
                <a:lnTo>
                  <a:pt x="10063" y="12212"/>
                </a:lnTo>
                <a:lnTo>
                  <a:pt x="9868" y="12138"/>
                </a:lnTo>
                <a:lnTo>
                  <a:pt x="9648" y="12065"/>
                </a:lnTo>
                <a:lnTo>
                  <a:pt x="9428" y="12016"/>
                </a:lnTo>
                <a:lnTo>
                  <a:pt x="9208" y="11919"/>
                </a:lnTo>
                <a:lnTo>
                  <a:pt x="9013" y="11821"/>
                </a:lnTo>
                <a:lnTo>
                  <a:pt x="8818" y="11650"/>
                </a:lnTo>
                <a:lnTo>
                  <a:pt x="8647" y="11454"/>
                </a:lnTo>
                <a:lnTo>
                  <a:pt x="8549" y="11235"/>
                </a:lnTo>
                <a:lnTo>
                  <a:pt x="8476" y="10990"/>
                </a:lnTo>
                <a:lnTo>
                  <a:pt x="8451" y="10697"/>
                </a:lnTo>
                <a:lnTo>
                  <a:pt x="8476" y="10502"/>
                </a:lnTo>
                <a:lnTo>
                  <a:pt x="8500" y="10282"/>
                </a:lnTo>
                <a:lnTo>
                  <a:pt x="8573" y="10087"/>
                </a:lnTo>
                <a:lnTo>
                  <a:pt x="8647" y="9891"/>
                </a:lnTo>
                <a:lnTo>
                  <a:pt x="8744" y="9696"/>
                </a:lnTo>
                <a:lnTo>
                  <a:pt x="8866" y="9501"/>
                </a:lnTo>
                <a:lnTo>
                  <a:pt x="9013" y="9330"/>
                </a:lnTo>
                <a:lnTo>
                  <a:pt x="9159" y="9159"/>
                </a:lnTo>
                <a:lnTo>
                  <a:pt x="9330" y="9012"/>
                </a:lnTo>
                <a:lnTo>
                  <a:pt x="9501" y="8890"/>
                </a:lnTo>
                <a:lnTo>
                  <a:pt x="9672" y="8768"/>
                </a:lnTo>
                <a:lnTo>
                  <a:pt x="9868" y="8646"/>
                </a:lnTo>
                <a:lnTo>
                  <a:pt x="10063" y="8573"/>
                </a:lnTo>
                <a:lnTo>
                  <a:pt x="10283" y="8499"/>
                </a:lnTo>
                <a:lnTo>
                  <a:pt x="10503" y="8475"/>
                </a:lnTo>
                <a:lnTo>
                  <a:pt x="10698" y="8450"/>
                </a:lnTo>
                <a:lnTo>
                  <a:pt x="10967" y="8475"/>
                </a:lnTo>
                <a:lnTo>
                  <a:pt x="11211" y="8548"/>
                </a:lnTo>
                <a:lnTo>
                  <a:pt x="11455" y="8646"/>
                </a:lnTo>
                <a:lnTo>
                  <a:pt x="11651" y="8817"/>
                </a:lnTo>
                <a:lnTo>
                  <a:pt x="11822" y="9012"/>
                </a:lnTo>
                <a:lnTo>
                  <a:pt x="11944" y="9232"/>
                </a:lnTo>
                <a:lnTo>
                  <a:pt x="12017" y="9452"/>
                </a:lnTo>
                <a:lnTo>
                  <a:pt x="12090" y="9672"/>
                </a:lnTo>
                <a:lnTo>
                  <a:pt x="12139" y="9867"/>
                </a:lnTo>
                <a:lnTo>
                  <a:pt x="12212" y="10062"/>
                </a:lnTo>
                <a:lnTo>
                  <a:pt x="12310" y="10258"/>
                </a:lnTo>
                <a:lnTo>
                  <a:pt x="12457" y="10453"/>
                </a:lnTo>
                <a:lnTo>
                  <a:pt x="12603" y="10575"/>
                </a:lnTo>
                <a:lnTo>
                  <a:pt x="12750" y="10673"/>
                </a:lnTo>
                <a:lnTo>
                  <a:pt x="12896" y="10746"/>
                </a:lnTo>
                <a:lnTo>
                  <a:pt x="13043" y="10795"/>
                </a:lnTo>
                <a:lnTo>
                  <a:pt x="13214" y="10819"/>
                </a:lnTo>
                <a:lnTo>
                  <a:pt x="13360" y="10819"/>
                </a:lnTo>
                <a:lnTo>
                  <a:pt x="13507" y="10795"/>
                </a:lnTo>
                <a:lnTo>
                  <a:pt x="13653" y="10746"/>
                </a:lnTo>
                <a:lnTo>
                  <a:pt x="13824" y="10697"/>
                </a:lnTo>
                <a:lnTo>
                  <a:pt x="13971" y="10624"/>
                </a:lnTo>
                <a:lnTo>
                  <a:pt x="14264" y="10429"/>
                </a:lnTo>
                <a:lnTo>
                  <a:pt x="14557" y="10184"/>
                </a:lnTo>
                <a:lnTo>
                  <a:pt x="14826" y="9916"/>
                </a:lnTo>
                <a:lnTo>
                  <a:pt x="15094" y="9623"/>
                </a:lnTo>
                <a:lnTo>
                  <a:pt x="15314" y="9305"/>
                </a:lnTo>
                <a:lnTo>
                  <a:pt x="15534" y="9012"/>
                </a:lnTo>
                <a:lnTo>
                  <a:pt x="15705" y="8744"/>
                </a:lnTo>
                <a:lnTo>
                  <a:pt x="15973" y="8279"/>
                </a:lnTo>
                <a:lnTo>
                  <a:pt x="16047" y="8133"/>
                </a:lnTo>
                <a:lnTo>
                  <a:pt x="16071" y="8035"/>
                </a:lnTo>
                <a:lnTo>
                  <a:pt x="16047" y="7840"/>
                </a:lnTo>
                <a:lnTo>
                  <a:pt x="15998" y="7669"/>
                </a:lnTo>
                <a:lnTo>
                  <a:pt x="15900" y="7474"/>
                </a:lnTo>
                <a:lnTo>
                  <a:pt x="15778" y="7327"/>
                </a:lnTo>
                <a:lnTo>
                  <a:pt x="15485" y="7058"/>
                </a:lnTo>
                <a:lnTo>
                  <a:pt x="15192" y="6814"/>
                </a:lnTo>
                <a:lnTo>
                  <a:pt x="14655" y="6374"/>
                </a:lnTo>
                <a:lnTo>
                  <a:pt x="14166" y="6008"/>
                </a:lnTo>
                <a:lnTo>
                  <a:pt x="13971" y="5837"/>
                </a:lnTo>
                <a:lnTo>
                  <a:pt x="13775" y="5666"/>
                </a:lnTo>
                <a:lnTo>
                  <a:pt x="13653" y="5495"/>
                </a:lnTo>
                <a:lnTo>
                  <a:pt x="13531" y="5324"/>
                </a:lnTo>
                <a:lnTo>
                  <a:pt x="13482" y="5153"/>
                </a:lnTo>
                <a:lnTo>
                  <a:pt x="13482" y="4958"/>
                </a:lnTo>
                <a:lnTo>
                  <a:pt x="13531" y="4763"/>
                </a:lnTo>
                <a:lnTo>
                  <a:pt x="13629" y="4543"/>
                </a:lnTo>
                <a:lnTo>
                  <a:pt x="13800" y="4299"/>
                </a:lnTo>
                <a:lnTo>
                  <a:pt x="14068" y="4030"/>
                </a:lnTo>
                <a:lnTo>
                  <a:pt x="14239" y="3859"/>
                </a:lnTo>
                <a:lnTo>
                  <a:pt x="14435" y="3761"/>
                </a:lnTo>
                <a:lnTo>
                  <a:pt x="14655" y="3688"/>
                </a:lnTo>
                <a:lnTo>
                  <a:pt x="14850" y="3639"/>
                </a:lnTo>
                <a:lnTo>
                  <a:pt x="15070" y="3590"/>
                </a:lnTo>
                <a:lnTo>
                  <a:pt x="15290" y="3493"/>
                </a:lnTo>
                <a:lnTo>
                  <a:pt x="15485" y="3370"/>
                </a:lnTo>
                <a:lnTo>
                  <a:pt x="15705" y="3199"/>
                </a:lnTo>
                <a:lnTo>
                  <a:pt x="15876" y="3004"/>
                </a:lnTo>
                <a:lnTo>
                  <a:pt x="15973" y="2784"/>
                </a:lnTo>
                <a:lnTo>
                  <a:pt x="16047" y="2540"/>
                </a:lnTo>
                <a:lnTo>
                  <a:pt x="16071" y="2271"/>
                </a:lnTo>
                <a:lnTo>
                  <a:pt x="16047" y="2052"/>
                </a:lnTo>
                <a:lnTo>
                  <a:pt x="16022" y="1832"/>
                </a:lnTo>
                <a:lnTo>
                  <a:pt x="15949" y="1636"/>
                </a:lnTo>
                <a:lnTo>
                  <a:pt x="15851" y="1417"/>
                </a:lnTo>
                <a:lnTo>
                  <a:pt x="15754" y="1246"/>
                </a:lnTo>
                <a:lnTo>
                  <a:pt x="15632" y="1050"/>
                </a:lnTo>
                <a:lnTo>
                  <a:pt x="15509" y="879"/>
                </a:lnTo>
                <a:lnTo>
                  <a:pt x="15363" y="708"/>
                </a:lnTo>
                <a:lnTo>
                  <a:pt x="15192" y="562"/>
                </a:lnTo>
                <a:lnTo>
                  <a:pt x="15021" y="440"/>
                </a:lnTo>
                <a:lnTo>
                  <a:pt x="14826" y="318"/>
                </a:lnTo>
                <a:lnTo>
                  <a:pt x="14630" y="195"/>
                </a:lnTo>
                <a:lnTo>
                  <a:pt x="14435" y="122"/>
                </a:lnTo>
                <a:lnTo>
                  <a:pt x="14215" y="49"/>
                </a:lnTo>
                <a:lnTo>
                  <a:pt x="14020" y="24"/>
                </a:lnTo>
                <a:lnTo>
                  <a:pt x="13800" y="0"/>
                </a:lnTo>
                <a:lnTo>
                  <a:pt x="13531" y="24"/>
                </a:lnTo>
                <a:lnTo>
                  <a:pt x="13287" y="98"/>
                </a:lnTo>
                <a:lnTo>
                  <a:pt x="13067" y="195"/>
                </a:lnTo>
                <a:lnTo>
                  <a:pt x="12872" y="366"/>
                </a:lnTo>
                <a:lnTo>
                  <a:pt x="12701" y="562"/>
                </a:lnTo>
                <a:lnTo>
                  <a:pt x="12579" y="782"/>
                </a:lnTo>
                <a:lnTo>
                  <a:pt x="12505" y="977"/>
                </a:lnTo>
                <a:lnTo>
                  <a:pt x="12457" y="1197"/>
                </a:lnTo>
                <a:lnTo>
                  <a:pt x="12383" y="1417"/>
                </a:lnTo>
                <a:lnTo>
                  <a:pt x="12310" y="1612"/>
                </a:lnTo>
                <a:lnTo>
                  <a:pt x="12212" y="1832"/>
                </a:lnTo>
                <a:lnTo>
                  <a:pt x="12041" y="2003"/>
                </a:lnTo>
                <a:lnTo>
                  <a:pt x="11773" y="2271"/>
                </a:lnTo>
                <a:lnTo>
                  <a:pt x="11528" y="2442"/>
                </a:lnTo>
                <a:lnTo>
                  <a:pt x="11309" y="2540"/>
                </a:lnTo>
                <a:lnTo>
                  <a:pt x="11113" y="2589"/>
                </a:lnTo>
                <a:lnTo>
                  <a:pt x="10918" y="2589"/>
                </a:lnTo>
                <a:lnTo>
                  <a:pt x="10747" y="2540"/>
                </a:lnTo>
                <a:lnTo>
                  <a:pt x="10576" y="2418"/>
                </a:lnTo>
                <a:lnTo>
                  <a:pt x="10405" y="2296"/>
                </a:lnTo>
                <a:lnTo>
                  <a:pt x="10234" y="2100"/>
                </a:lnTo>
                <a:lnTo>
                  <a:pt x="10063" y="1905"/>
                </a:lnTo>
                <a:lnTo>
                  <a:pt x="9697" y="1417"/>
                </a:lnTo>
                <a:lnTo>
                  <a:pt x="9257" y="879"/>
                </a:lnTo>
                <a:lnTo>
                  <a:pt x="9013" y="586"/>
                </a:lnTo>
                <a:lnTo>
                  <a:pt x="8744" y="293"/>
                </a:lnTo>
                <a:lnTo>
                  <a:pt x="8598" y="171"/>
                </a:lnTo>
                <a:lnTo>
                  <a:pt x="8402" y="73"/>
                </a:lnTo>
                <a:lnTo>
                  <a:pt x="8231" y="24"/>
                </a:lnTo>
                <a:lnTo>
                  <a:pt x="803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 dirty="0">
              <a:solidFill>
                <a:schemeClr val="dk1"/>
              </a:solidFill>
            </a:endParaRPr>
          </a:p>
        </p:txBody>
      </p:sp>
      <p:sp>
        <p:nvSpPr>
          <p:cNvPr id="570" name="Google Shape;570;p43"/>
          <p:cNvSpPr/>
          <p:nvPr/>
        </p:nvSpPr>
        <p:spPr>
          <a:xfrm>
            <a:off x="11478113" y="724402"/>
            <a:ext cx="262683" cy="276941"/>
          </a:xfrm>
          <a:custGeom>
            <a:avLst/>
            <a:gdLst/>
            <a:ahLst/>
            <a:cxnLst/>
            <a:rect l="l" t="t" r="r" b="b"/>
            <a:pathLst>
              <a:path w="15290" h="16120" extrusionOk="0">
                <a:moveTo>
                  <a:pt x="7645" y="1"/>
                </a:moveTo>
                <a:lnTo>
                  <a:pt x="7303" y="25"/>
                </a:lnTo>
                <a:lnTo>
                  <a:pt x="7010" y="98"/>
                </a:lnTo>
                <a:lnTo>
                  <a:pt x="6766" y="172"/>
                </a:lnTo>
                <a:lnTo>
                  <a:pt x="6546" y="294"/>
                </a:lnTo>
                <a:lnTo>
                  <a:pt x="6351" y="391"/>
                </a:lnTo>
                <a:lnTo>
                  <a:pt x="6204" y="538"/>
                </a:lnTo>
                <a:lnTo>
                  <a:pt x="6058" y="660"/>
                </a:lnTo>
                <a:lnTo>
                  <a:pt x="5960" y="782"/>
                </a:lnTo>
                <a:lnTo>
                  <a:pt x="5569" y="856"/>
                </a:lnTo>
                <a:lnTo>
                  <a:pt x="5203" y="978"/>
                </a:lnTo>
                <a:lnTo>
                  <a:pt x="4885" y="1149"/>
                </a:lnTo>
                <a:lnTo>
                  <a:pt x="4617" y="1320"/>
                </a:lnTo>
                <a:lnTo>
                  <a:pt x="4372" y="1539"/>
                </a:lnTo>
                <a:lnTo>
                  <a:pt x="4177" y="1759"/>
                </a:lnTo>
                <a:lnTo>
                  <a:pt x="4030" y="2028"/>
                </a:lnTo>
                <a:lnTo>
                  <a:pt x="3908" y="2296"/>
                </a:lnTo>
                <a:lnTo>
                  <a:pt x="3811" y="2565"/>
                </a:lnTo>
                <a:lnTo>
                  <a:pt x="3737" y="2834"/>
                </a:lnTo>
                <a:lnTo>
                  <a:pt x="3689" y="3127"/>
                </a:lnTo>
                <a:lnTo>
                  <a:pt x="3640" y="3420"/>
                </a:lnTo>
                <a:lnTo>
                  <a:pt x="3640" y="3713"/>
                </a:lnTo>
                <a:lnTo>
                  <a:pt x="3640" y="3982"/>
                </a:lnTo>
                <a:lnTo>
                  <a:pt x="3689" y="4495"/>
                </a:lnTo>
                <a:lnTo>
                  <a:pt x="3689" y="4519"/>
                </a:lnTo>
                <a:lnTo>
                  <a:pt x="3566" y="4568"/>
                </a:lnTo>
                <a:lnTo>
                  <a:pt x="3469" y="4666"/>
                </a:lnTo>
                <a:lnTo>
                  <a:pt x="3395" y="4812"/>
                </a:lnTo>
                <a:lnTo>
                  <a:pt x="3322" y="4983"/>
                </a:lnTo>
                <a:lnTo>
                  <a:pt x="3273" y="5178"/>
                </a:lnTo>
                <a:lnTo>
                  <a:pt x="3249" y="5398"/>
                </a:lnTo>
                <a:lnTo>
                  <a:pt x="3224" y="5642"/>
                </a:lnTo>
                <a:lnTo>
                  <a:pt x="3249" y="5887"/>
                </a:lnTo>
                <a:lnTo>
                  <a:pt x="3298" y="6155"/>
                </a:lnTo>
                <a:lnTo>
                  <a:pt x="3347" y="6400"/>
                </a:lnTo>
                <a:lnTo>
                  <a:pt x="3444" y="6619"/>
                </a:lnTo>
                <a:lnTo>
                  <a:pt x="3542" y="6790"/>
                </a:lnTo>
                <a:lnTo>
                  <a:pt x="3640" y="6961"/>
                </a:lnTo>
                <a:lnTo>
                  <a:pt x="3762" y="7059"/>
                </a:lnTo>
                <a:lnTo>
                  <a:pt x="3884" y="7132"/>
                </a:lnTo>
                <a:lnTo>
                  <a:pt x="4030" y="7132"/>
                </a:lnTo>
                <a:lnTo>
                  <a:pt x="4104" y="7108"/>
                </a:lnTo>
                <a:lnTo>
                  <a:pt x="4275" y="7523"/>
                </a:lnTo>
                <a:lnTo>
                  <a:pt x="4494" y="7889"/>
                </a:lnTo>
                <a:lnTo>
                  <a:pt x="4714" y="8256"/>
                </a:lnTo>
                <a:lnTo>
                  <a:pt x="4983" y="8598"/>
                </a:lnTo>
                <a:lnTo>
                  <a:pt x="5252" y="8891"/>
                </a:lnTo>
                <a:lnTo>
                  <a:pt x="5545" y="9159"/>
                </a:lnTo>
                <a:lnTo>
                  <a:pt x="5862" y="9404"/>
                </a:lnTo>
                <a:lnTo>
                  <a:pt x="6180" y="9623"/>
                </a:lnTo>
                <a:lnTo>
                  <a:pt x="6180" y="10698"/>
                </a:lnTo>
                <a:lnTo>
                  <a:pt x="5667" y="10747"/>
                </a:lnTo>
                <a:lnTo>
                  <a:pt x="5081" y="10845"/>
                </a:lnTo>
                <a:lnTo>
                  <a:pt x="4519" y="10967"/>
                </a:lnTo>
                <a:lnTo>
                  <a:pt x="3957" y="11089"/>
                </a:lnTo>
                <a:lnTo>
                  <a:pt x="3420" y="11260"/>
                </a:lnTo>
                <a:lnTo>
                  <a:pt x="2931" y="11455"/>
                </a:lnTo>
                <a:lnTo>
                  <a:pt x="2467" y="11675"/>
                </a:lnTo>
                <a:lnTo>
                  <a:pt x="2028" y="11919"/>
                </a:lnTo>
                <a:lnTo>
                  <a:pt x="1637" y="12188"/>
                </a:lnTo>
                <a:lnTo>
                  <a:pt x="1271" y="12456"/>
                </a:lnTo>
                <a:lnTo>
                  <a:pt x="953" y="12774"/>
                </a:lnTo>
                <a:lnTo>
                  <a:pt x="684" y="13116"/>
                </a:lnTo>
                <a:lnTo>
                  <a:pt x="440" y="13458"/>
                </a:lnTo>
                <a:lnTo>
                  <a:pt x="269" y="13849"/>
                </a:lnTo>
                <a:lnTo>
                  <a:pt x="123" y="14239"/>
                </a:lnTo>
                <a:lnTo>
                  <a:pt x="49" y="14679"/>
                </a:lnTo>
                <a:lnTo>
                  <a:pt x="1" y="15119"/>
                </a:lnTo>
                <a:lnTo>
                  <a:pt x="49" y="15167"/>
                </a:lnTo>
                <a:lnTo>
                  <a:pt x="245" y="15265"/>
                </a:lnTo>
                <a:lnTo>
                  <a:pt x="416" y="15338"/>
                </a:lnTo>
                <a:lnTo>
                  <a:pt x="636" y="15436"/>
                </a:lnTo>
                <a:lnTo>
                  <a:pt x="904" y="15534"/>
                </a:lnTo>
                <a:lnTo>
                  <a:pt x="1271" y="15607"/>
                </a:lnTo>
                <a:lnTo>
                  <a:pt x="1710" y="15705"/>
                </a:lnTo>
                <a:lnTo>
                  <a:pt x="2223" y="15802"/>
                </a:lnTo>
                <a:lnTo>
                  <a:pt x="2834" y="15876"/>
                </a:lnTo>
                <a:lnTo>
                  <a:pt x="3566" y="15973"/>
                </a:lnTo>
                <a:lnTo>
                  <a:pt x="4397" y="16022"/>
                </a:lnTo>
                <a:lnTo>
                  <a:pt x="5325" y="16071"/>
                </a:lnTo>
                <a:lnTo>
                  <a:pt x="6399" y="16096"/>
                </a:lnTo>
                <a:lnTo>
                  <a:pt x="7621" y="16120"/>
                </a:lnTo>
                <a:lnTo>
                  <a:pt x="8817" y="16096"/>
                </a:lnTo>
                <a:lnTo>
                  <a:pt x="9892" y="16071"/>
                </a:lnTo>
                <a:lnTo>
                  <a:pt x="10844" y="16022"/>
                </a:lnTo>
                <a:lnTo>
                  <a:pt x="11675" y="15973"/>
                </a:lnTo>
                <a:lnTo>
                  <a:pt x="12408" y="15876"/>
                </a:lnTo>
                <a:lnTo>
                  <a:pt x="13018" y="15802"/>
                </a:lnTo>
                <a:lnTo>
                  <a:pt x="13555" y="15705"/>
                </a:lnTo>
                <a:lnTo>
                  <a:pt x="13995" y="15607"/>
                </a:lnTo>
                <a:lnTo>
                  <a:pt x="14361" y="15534"/>
                </a:lnTo>
                <a:lnTo>
                  <a:pt x="14654" y="15436"/>
                </a:lnTo>
                <a:lnTo>
                  <a:pt x="14874" y="15338"/>
                </a:lnTo>
                <a:lnTo>
                  <a:pt x="15045" y="15265"/>
                </a:lnTo>
                <a:lnTo>
                  <a:pt x="15216" y="15167"/>
                </a:lnTo>
                <a:lnTo>
                  <a:pt x="15289" y="15119"/>
                </a:lnTo>
                <a:lnTo>
                  <a:pt x="15241" y="14655"/>
                </a:lnTo>
                <a:lnTo>
                  <a:pt x="15167" y="14215"/>
                </a:lnTo>
                <a:lnTo>
                  <a:pt x="15045" y="13800"/>
                </a:lnTo>
                <a:lnTo>
                  <a:pt x="14874" y="13409"/>
                </a:lnTo>
                <a:lnTo>
                  <a:pt x="14630" y="13043"/>
                </a:lnTo>
                <a:lnTo>
                  <a:pt x="14361" y="12701"/>
                </a:lnTo>
                <a:lnTo>
                  <a:pt x="14044" y="12408"/>
                </a:lnTo>
                <a:lnTo>
                  <a:pt x="13678" y="12115"/>
                </a:lnTo>
                <a:lnTo>
                  <a:pt x="13287" y="11846"/>
                </a:lnTo>
                <a:lnTo>
                  <a:pt x="12847" y="11626"/>
                </a:lnTo>
                <a:lnTo>
                  <a:pt x="12359" y="11406"/>
                </a:lnTo>
                <a:lnTo>
                  <a:pt x="11846" y="11235"/>
                </a:lnTo>
                <a:lnTo>
                  <a:pt x="11284" y="11064"/>
                </a:lnTo>
                <a:lnTo>
                  <a:pt x="10698" y="10942"/>
                </a:lnTo>
                <a:lnTo>
                  <a:pt x="10063" y="10820"/>
                </a:lnTo>
                <a:lnTo>
                  <a:pt x="9428" y="10747"/>
                </a:lnTo>
                <a:lnTo>
                  <a:pt x="9110" y="10722"/>
                </a:lnTo>
                <a:lnTo>
                  <a:pt x="9110" y="9623"/>
                </a:lnTo>
                <a:lnTo>
                  <a:pt x="9428" y="9404"/>
                </a:lnTo>
                <a:lnTo>
                  <a:pt x="9745" y="9159"/>
                </a:lnTo>
                <a:lnTo>
                  <a:pt x="10039" y="8891"/>
                </a:lnTo>
                <a:lnTo>
                  <a:pt x="10332" y="8598"/>
                </a:lnTo>
                <a:lnTo>
                  <a:pt x="10576" y="8256"/>
                </a:lnTo>
                <a:lnTo>
                  <a:pt x="10796" y="7889"/>
                </a:lnTo>
                <a:lnTo>
                  <a:pt x="11015" y="7523"/>
                </a:lnTo>
                <a:lnTo>
                  <a:pt x="11186" y="7108"/>
                </a:lnTo>
                <a:lnTo>
                  <a:pt x="11260" y="7132"/>
                </a:lnTo>
                <a:lnTo>
                  <a:pt x="11406" y="7132"/>
                </a:lnTo>
                <a:lnTo>
                  <a:pt x="11528" y="7059"/>
                </a:lnTo>
                <a:lnTo>
                  <a:pt x="11650" y="6961"/>
                </a:lnTo>
                <a:lnTo>
                  <a:pt x="11748" y="6790"/>
                </a:lnTo>
                <a:lnTo>
                  <a:pt x="11846" y="6619"/>
                </a:lnTo>
                <a:lnTo>
                  <a:pt x="11944" y="6400"/>
                </a:lnTo>
                <a:lnTo>
                  <a:pt x="11992" y="6155"/>
                </a:lnTo>
                <a:lnTo>
                  <a:pt x="12041" y="5887"/>
                </a:lnTo>
                <a:lnTo>
                  <a:pt x="12066" y="5642"/>
                </a:lnTo>
                <a:lnTo>
                  <a:pt x="12041" y="5398"/>
                </a:lnTo>
                <a:lnTo>
                  <a:pt x="12017" y="5203"/>
                </a:lnTo>
                <a:lnTo>
                  <a:pt x="11968" y="5007"/>
                </a:lnTo>
                <a:lnTo>
                  <a:pt x="11919" y="4836"/>
                </a:lnTo>
                <a:lnTo>
                  <a:pt x="11846" y="4690"/>
                </a:lnTo>
                <a:lnTo>
                  <a:pt x="11748" y="4592"/>
                </a:lnTo>
                <a:lnTo>
                  <a:pt x="11626" y="4519"/>
                </a:lnTo>
                <a:lnTo>
                  <a:pt x="11699" y="4153"/>
                </a:lnTo>
                <a:lnTo>
                  <a:pt x="11724" y="3811"/>
                </a:lnTo>
                <a:lnTo>
                  <a:pt x="11724" y="3493"/>
                </a:lnTo>
                <a:lnTo>
                  <a:pt x="11724" y="3200"/>
                </a:lnTo>
                <a:lnTo>
                  <a:pt x="11699" y="2907"/>
                </a:lnTo>
                <a:lnTo>
                  <a:pt x="11650" y="2638"/>
                </a:lnTo>
                <a:lnTo>
                  <a:pt x="11577" y="2394"/>
                </a:lnTo>
                <a:lnTo>
                  <a:pt x="11504" y="2150"/>
                </a:lnTo>
                <a:lnTo>
                  <a:pt x="11406" y="1930"/>
                </a:lnTo>
                <a:lnTo>
                  <a:pt x="11309" y="1710"/>
                </a:lnTo>
                <a:lnTo>
                  <a:pt x="11186" y="1515"/>
                </a:lnTo>
                <a:lnTo>
                  <a:pt x="11040" y="1344"/>
                </a:lnTo>
                <a:lnTo>
                  <a:pt x="10893" y="1173"/>
                </a:lnTo>
                <a:lnTo>
                  <a:pt x="10747" y="1026"/>
                </a:lnTo>
                <a:lnTo>
                  <a:pt x="10429" y="758"/>
                </a:lnTo>
                <a:lnTo>
                  <a:pt x="10063" y="562"/>
                </a:lnTo>
                <a:lnTo>
                  <a:pt x="9697" y="367"/>
                </a:lnTo>
                <a:lnTo>
                  <a:pt x="9330" y="245"/>
                </a:lnTo>
                <a:lnTo>
                  <a:pt x="8964" y="147"/>
                </a:lnTo>
                <a:lnTo>
                  <a:pt x="8598" y="74"/>
                </a:lnTo>
                <a:lnTo>
                  <a:pt x="8256" y="25"/>
                </a:lnTo>
                <a:lnTo>
                  <a:pt x="7938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chemeClr val="dk1"/>
              </a:solidFill>
            </a:endParaRPr>
          </a:p>
        </p:txBody>
      </p:sp>
      <p:grpSp>
        <p:nvGrpSpPr>
          <p:cNvPr id="571" name="Google Shape;571;p43"/>
          <p:cNvGrpSpPr/>
          <p:nvPr/>
        </p:nvGrpSpPr>
        <p:grpSpPr>
          <a:xfrm>
            <a:off x="10436529" y="5084730"/>
            <a:ext cx="268810" cy="228271"/>
            <a:chOff x="4610450" y="3703750"/>
            <a:chExt cx="453050" cy="332175"/>
          </a:xfrm>
          <a:solidFill>
            <a:schemeClr val="bg1"/>
          </a:solidFill>
        </p:grpSpPr>
        <p:sp>
          <p:nvSpPr>
            <p:cNvPr id="572" name="Google Shape;572;p43"/>
            <p:cNvSpPr/>
            <p:nvPr/>
          </p:nvSpPr>
          <p:spPr>
            <a:xfrm>
              <a:off x="4610450" y="3703750"/>
              <a:ext cx="453050" cy="332175"/>
            </a:xfrm>
            <a:custGeom>
              <a:avLst/>
              <a:gdLst/>
              <a:ahLst/>
              <a:cxnLst/>
              <a:rect l="l" t="t" r="r" b="b"/>
              <a:pathLst>
                <a:path w="18122" h="13287" extrusionOk="0">
                  <a:moveTo>
                    <a:pt x="366" y="0"/>
                  </a:moveTo>
                  <a:lnTo>
                    <a:pt x="293" y="49"/>
                  </a:lnTo>
                  <a:lnTo>
                    <a:pt x="195" y="74"/>
                  </a:lnTo>
                  <a:lnTo>
                    <a:pt x="122" y="147"/>
                  </a:lnTo>
                  <a:lnTo>
                    <a:pt x="73" y="220"/>
                  </a:lnTo>
                  <a:lnTo>
                    <a:pt x="25" y="293"/>
                  </a:lnTo>
                  <a:lnTo>
                    <a:pt x="0" y="391"/>
                  </a:lnTo>
                  <a:lnTo>
                    <a:pt x="0" y="489"/>
                  </a:lnTo>
                  <a:lnTo>
                    <a:pt x="0" y="12798"/>
                  </a:lnTo>
                  <a:lnTo>
                    <a:pt x="0" y="12896"/>
                  </a:lnTo>
                  <a:lnTo>
                    <a:pt x="25" y="12993"/>
                  </a:lnTo>
                  <a:lnTo>
                    <a:pt x="73" y="13067"/>
                  </a:lnTo>
                  <a:lnTo>
                    <a:pt x="122" y="13140"/>
                  </a:lnTo>
                  <a:lnTo>
                    <a:pt x="195" y="13213"/>
                  </a:lnTo>
                  <a:lnTo>
                    <a:pt x="293" y="13238"/>
                  </a:lnTo>
                  <a:lnTo>
                    <a:pt x="366" y="13287"/>
                  </a:lnTo>
                  <a:lnTo>
                    <a:pt x="17756" y="13287"/>
                  </a:lnTo>
                  <a:lnTo>
                    <a:pt x="17829" y="13238"/>
                  </a:lnTo>
                  <a:lnTo>
                    <a:pt x="17927" y="13213"/>
                  </a:lnTo>
                  <a:lnTo>
                    <a:pt x="18000" y="13140"/>
                  </a:lnTo>
                  <a:lnTo>
                    <a:pt x="18049" y="13067"/>
                  </a:lnTo>
                  <a:lnTo>
                    <a:pt x="18098" y="12993"/>
                  </a:lnTo>
                  <a:lnTo>
                    <a:pt x="18122" y="12896"/>
                  </a:lnTo>
                  <a:lnTo>
                    <a:pt x="18122" y="12798"/>
                  </a:lnTo>
                  <a:lnTo>
                    <a:pt x="18122" y="12700"/>
                  </a:lnTo>
                  <a:lnTo>
                    <a:pt x="18098" y="12603"/>
                  </a:lnTo>
                  <a:lnTo>
                    <a:pt x="18049" y="12529"/>
                  </a:lnTo>
                  <a:lnTo>
                    <a:pt x="18000" y="12456"/>
                  </a:lnTo>
                  <a:lnTo>
                    <a:pt x="17927" y="12383"/>
                  </a:lnTo>
                  <a:lnTo>
                    <a:pt x="17829" y="12358"/>
                  </a:lnTo>
                  <a:lnTo>
                    <a:pt x="17756" y="12310"/>
                  </a:lnTo>
                  <a:lnTo>
                    <a:pt x="977" y="12310"/>
                  </a:lnTo>
                  <a:lnTo>
                    <a:pt x="977" y="489"/>
                  </a:lnTo>
                  <a:lnTo>
                    <a:pt x="953" y="391"/>
                  </a:lnTo>
                  <a:lnTo>
                    <a:pt x="928" y="293"/>
                  </a:lnTo>
                  <a:lnTo>
                    <a:pt x="879" y="220"/>
                  </a:lnTo>
                  <a:lnTo>
                    <a:pt x="830" y="147"/>
                  </a:lnTo>
                  <a:lnTo>
                    <a:pt x="757" y="74"/>
                  </a:lnTo>
                  <a:lnTo>
                    <a:pt x="660" y="49"/>
                  </a:lnTo>
                  <a:lnTo>
                    <a:pt x="58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chemeClr val="dk1"/>
                </a:solidFill>
              </a:endParaRPr>
            </a:p>
          </p:txBody>
        </p:sp>
        <p:sp>
          <p:nvSpPr>
            <p:cNvPr id="573" name="Google Shape;573;p43"/>
            <p:cNvSpPr/>
            <p:nvPr/>
          </p:nvSpPr>
          <p:spPr>
            <a:xfrm>
              <a:off x="4642200" y="3730000"/>
              <a:ext cx="389550" cy="249150"/>
            </a:xfrm>
            <a:custGeom>
              <a:avLst/>
              <a:gdLst/>
              <a:ahLst/>
              <a:cxnLst/>
              <a:rect l="l" t="t" r="r" b="b"/>
              <a:pathLst>
                <a:path w="15582" h="9966" extrusionOk="0">
                  <a:moveTo>
                    <a:pt x="14752" y="1"/>
                  </a:moveTo>
                  <a:lnTo>
                    <a:pt x="14629" y="49"/>
                  </a:lnTo>
                  <a:lnTo>
                    <a:pt x="14507" y="98"/>
                  </a:lnTo>
                  <a:lnTo>
                    <a:pt x="14410" y="196"/>
                  </a:lnTo>
                  <a:lnTo>
                    <a:pt x="14336" y="294"/>
                  </a:lnTo>
                  <a:lnTo>
                    <a:pt x="14263" y="416"/>
                  </a:lnTo>
                  <a:lnTo>
                    <a:pt x="14239" y="538"/>
                  </a:lnTo>
                  <a:lnTo>
                    <a:pt x="14214" y="684"/>
                  </a:lnTo>
                  <a:lnTo>
                    <a:pt x="14239" y="831"/>
                  </a:lnTo>
                  <a:lnTo>
                    <a:pt x="14288" y="1002"/>
                  </a:lnTo>
                  <a:lnTo>
                    <a:pt x="11308" y="4372"/>
                  </a:lnTo>
                  <a:lnTo>
                    <a:pt x="11161" y="4323"/>
                  </a:lnTo>
                  <a:lnTo>
                    <a:pt x="11015" y="4299"/>
                  </a:lnTo>
                  <a:lnTo>
                    <a:pt x="10844" y="4323"/>
                  </a:lnTo>
                  <a:lnTo>
                    <a:pt x="10087" y="3005"/>
                  </a:lnTo>
                  <a:lnTo>
                    <a:pt x="10160" y="2907"/>
                  </a:lnTo>
                  <a:lnTo>
                    <a:pt x="10209" y="2809"/>
                  </a:lnTo>
                  <a:lnTo>
                    <a:pt x="10233" y="2687"/>
                  </a:lnTo>
                  <a:lnTo>
                    <a:pt x="10233" y="2565"/>
                  </a:lnTo>
                  <a:lnTo>
                    <a:pt x="10233" y="2418"/>
                  </a:lnTo>
                  <a:lnTo>
                    <a:pt x="10184" y="2296"/>
                  </a:lnTo>
                  <a:lnTo>
                    <a:pt x="10136" y="2174"/>
                  </a:lnTo>
                  <a:lnTo>
                    <a:pt x="10038" y="2077"/>
                  </a:lnTo>
                  <a:lnTo>
                    <a:pt x="9940" y="2003"/>
                  </a:lnTo>
                  <a:lnTo>
                    <a:pt x="9818" y="1930"/>
                  </a:lnTo>
                  <a:lnTo>
                    <a:pt x="9696" y="1906"/>
                  </a:lnTo>
                  <a:lnTo>
                    <a:pt x="9549" y="1881"/>
                  </a:lnTo>
                  <a:lnTo>
                    <a:pt x="9427" y="1906"/>
                  </a:lnTo>
                  <a:lnTo>
                    <a:pt x="9281" y="1930"/>
                  </a:lnTo>
                  <a:lnTo>
                    <a:pt x="9183" y="2003"/>
                  </a:lnTo>
                  <a:lnTo>
                    <a:pt x="9085" y="2077"/>
                  </a:lnTo>
                  <a:lnTo>
                    <a:pt x="8988" y="2174"/>
                  </a:lnTo>
                  <a:lnTo>
                    <a:pt x="8939" y="2296"/>
                  </a:lnTo>
                  <a:lnTo>
                    <a:pt x="8890" y="2418"/>
                  </a:lnTo>
                  <a:lnTo>
                    <a:pt x="8866" y="2565"/>
                  </a:lnTo>
                  <a:lnTo>
                    <a:pt x="8890" y="2663"/>
                  </a:lnTo>
                  <a:lnTo>
                    <a:pt x="8914" y="2785"/>
                  </a:lnTo>
                  <a:lnTo>
                    <a:pt x="8939" y="2883"/>
                  </a:lnTo>
                  <a:lnTo>
                    <a:pt x="8988" y="2956"/>
                  </a:lnTo>
                  <a:lnTo>
                    <a:pt x="6521" y="6668"/>
                  </a:lnTo>
                  <a:lnTo>
                    <a:pt x="6399" y="6644"/>
                  </a:lnTo>
                  <a:lnTo>
                    <a:pt x="6130" y="6644"/>
                  </a:lnTo>
                  <a:lnTo>
                    <a:pt x="5959" y="6717"/>
                  </a:lnTo>
                  <a:lnTo>
                    <a:pt x="4714" y="5398"/>
                  </a:lnTo>
                  <a:lnTo>
                    <a:pt x="4763" y="5252"/>
                  </a:lnTo>
                  <a:lnTo>
                    <a:pt x="4763" y="5105"/>
                  </a:lnTo>
                  <a:lnTo>
                    <a:pt x="4763" y="4958"/>
                  </a:lnTo>
                  <a:lnTo>
                    <a:pt x="4714" y="4836"/>
                  </a:lnTo>
                  <a:lnTo>
                    <a:pt x="4665" y="4714"/>
                  </a:lnTo>
                  <a:lnTo>
                    <a:pt x="4567" y="4617"/>
                  </a:lnTo>
                  <a:lnTo>
                    <a:pt x="4470" y="4543"/>
                  </a:lnTo>
                  <a:lnTo>
                    <a:pt x="4347" y="4470"/>
                  </a:lnTo>
                  <a:lnTo>
                    <a:pt x="4225" y="4446"/>
                  </a:lnTo>
                  <a:lnTo>
                    <a:pt x="4079" y="4421"/>
                  </a:lnTo>
                  <a:lnTo>
                    <a:pt x="3957" y="4446"/>
                  </a:lnTo>
                  <a:lnTo>
                    <a:pt x="3810" y="4470"/>
                  </a:lnTo>
                  <a:lnTo>
                    <a:pt x="3712" y="4543"/>
                  </a:lnTo>
                  <a:lnTo>
                    <a:pt x="3615" y="4617"/>
                  </a:lnTo>
                  <a:lnTo>
                    <a:pt x="3517" y="4714"/>
                  </a:lnTo>
                  <a:lnTo>
                    <a:pt x="3468" y="4836"/>
                  </a:lnTo>
                  <a:lnTo>
                    <a:pt x="3419" y="4958"/>
                  </a:lnTo>
                  <a:lnTo>
                    <a:pt x="3395" y="5105"/>
                  </a:lnTo>
                  <a:lnTo>
                    <a:pt x="3419" y="5276"/>
                  </a:lnTo>
                  <a:lnTo>
                    <a:pt x="3493" y="5447"/>
                  </a:lnTo>
                  <a:lnTo>
                    <a:pt x="49" y="9574"/>
                  </a:lnTo>
                  <a:lnTo>
                    <a:pt x="0" y="9648"/>
                  </a:lnTo>
                  <a:lnTo>
                    <a:pt x="0" y="9745"/>
                  </a:lnTo>
                  <a:lnTo>
                    <a:pt x="25" y="9843"/>
                  </a:lnTo>
                  <a:lnTo>
                    <a:pt x="98" y="9916"/>
                  </a:lnTo>
                  <a:lnTo>
                    <a:pt x="171" y="9965"/>
                  </a:lnTo>
                  <a:lnTo>
                    <a:pt x="244" y="9965"/>
                  </a:lnTo>
                  <a:lnTo>
                    <a:pt x="342" y="9941"/>
                  </a:lnTo>
                  <a:lnTo>
                    <a:pt x="440" y="9892"/>
                  </a:lnTo>
                  <a:lnTo>
                    <a:pt x="3859" y="5740"/>
                  </a:lnTo>
                  <a:lnTo>
                    <a:pt x="3981" y="5789"/>
                  </a:lnTo>
                  <a:lnTo>
                    <a:pt x="4079" y="5789"/>
                  </a:lnTo>
                  <a:lnTo>
                    <a:pt x="4225" y="5764"/>
                  </a:lnTo>
                  <a:lnTo>
                    <a:pt x="4347" y="5740"/>
                  </a:lnTo>
                  <a:lnTo>
                    <a:pt x="5642" y="7083"/>
                  </a:lnTo>
                  <a:lnTo>
                    <a:pt x="5617" y="7205"/>
                  </a:lnTo>
                  <a:lnTo>
                    <a:pt x="5617" y="7328"/>
                  </a:lnTo>
                  <a:lnTo>
                    <a:pt x="5617" y="7450"/>
                  </a:lnTo>
                  <a:lnTo>
                    <a:pt x="5666" y="7572"/>
                  </a:lnTo>
                  <a:lnTo>
                    <a:pt x="5740" y="7694"/>
                  </a:lnTo>
                  <a:lnTo>
                    <a:pt x="5813" y="7792"/>
                  </a:lnTo>
                  <a:lnTo>
                    <a:pt x="5910" y="7889"/>
                  </a:lnTo>
                  <a:lnTo>
                    <a:pt x="6033" y="7938"/>
                  </a:lnTo>
                  <a:lnTo>
                    <a:pt x="6155" y="7987"/>
                  </a:lnTo>
                  <a:lnTo>
                    <a:pt x="6301" y="8011"/>
                  </a:lnTo>
                  <a:lnTo>
                    <a:pt x="6448" y="7987"/>
                  </a:lnTo>
                  <a:lnTo>
                    <a:pt x="6570" y="7938"/>
                  </a:lnTo>
                  <a:lnTo>
                    <a:pt x="6692" y="7889"/>
                  </a:lnTo>
                  <a:lnTo>
                    <a:pt x="6790" y="7792"/>
                  </a:lnTo>
                  <a:lnTo>
                    <a:pt x="6863" y="7694"/>
                  </a:lnTo>
                  <a:lnTo>
                    <a:pt x="6936" y="7572"/>
                  </a:lnTo>
                  <a:lnTo>
                    <a:pt x="6961" y="7450"/>
                  </a:lnTo>
                  <a:lnTo>
                    <a:pt x="6985" y="7328"/>
                  </a:lnTo>
                  <a:lnTo>
                    <a:pt x="6961" y="7132"/>
                  </a:lnTo>
                  <a:lnTo>
                    <a:pt x="6887" y="6986"/>
                  </a:lnTo>
                  <a:lnTo>
                    <a:pt x="9403" y="3224"/>
                  </a:lnTo>
                  <a:lnTo>
                    <a:pt x="9549" y="3249"/>
                  </a:lnTo>
                  <a:lnTo>
                    <a:pt x="9647" y="3249"/>
                  </a:lnTo>
                  <a:lnTo>
                    <a:pt x="10429" y="4617"/>
                  </a:lnTo>
                  <a:lnTo>
                    <a:pt x="10355" y="4788"/>
                  </a:lnTo>
                  <a:lnTo>
                    <a:pt x="10331" y="4885"/>
                  </a:lnTo>
                  <a:lnTo>
                    <a:pt x="10331" y="4983"/>
                  </a:lnTo>
                  <a:lnTo>
                    <a:pt x="10331" y="5129"/>
                  </a:lnTo>
                  <a:lnTo>
                    <a:pt x="10380" y="5252"/>
                  </a:lnTo>
                  <a:lnTo>
                    <a:pt x="10429" y="5374"/>
                  </a:lnTo>
                  <a:lnTo>
                    <a:pt x="10526" y="5471"/>
                  </a:lnTo>
                  <a:lnTo>
                    <a:pt x="10624" y="5569"/>
                  </a:lnTo>
                  <a:lnTo>
                    <a:pt x="10746" y="5618"/>
                  </a:lnTo>
                  <a:lnTo>
                    <a:pt x="10868" y="5667"/>
                  </a:lnTo>
                  <a:lnTo>
                    <a:pt x="11137" y="5667"/>
                  </a:lnTo>
                  <a:lnTo>
                    <a:pt x="11284" y="5618"/>
                  </a:lnTo>
                  <a:lnTo>
                    <a:pt x="11381" y="5569"/>
                  </a:lnTo>
                  <a:lnTo>
                    <a:pt x="11479" y="5471"/>
                  </a:lnTo>
                  <a:lnTo>
                    <a:pt x="11577" y="5374"/>
                  </a:lnTo>
                  <a:lnTo>
                    <a:pt x="11625" y="5252"/>
                  </a:lnTo>
                  <a:lnTo>
                    <a:pt x="11674" y="5129"/>
                  </a:lnTo>
                  <a:lnTo>
                    <a:pt x="11699" y="4983"/>
                  </a:lnTo>
                  <a:lnTo>
                    <a:pt x="11674" y="4861"/>
                  </a:lnTo>
                  <a:lnTo>
                    <a:pt x="11650" y="4739"/>
                  </a:lnTo>
                  <a:lnTo>
                    <a:pt x="14654" y="1319"/>
                  </a:lnTo>
                  <a:lnTo>
                    <a:pt x="14776" y="1344"/>
                  </a:lnTo>
                  <a:lnTo>
                    <a:pt x="14898" y="1368"/>
                  </a:lnTo>
                  <a:lnTo>
                    <a:pt x="15045" y="1344"/>
                  </a:lnTo>
                  <a:lnTo>
                    <a:pt x="15167" y="1295"/>
                  </a:lnTo>
                  <a:lnTo>
                    <a:pt x="15289" y="1246"/>
                  </a:lnTo>
                  <a:lnTo>
                    <a:pt x="15387" y="1148"/>
                  </a:lnTo>
                  <a:lnTo>
                    <a:pt x="15460" y="1051"/>
                  </a:lnTo>
                  <a:lnTo>
                    <a:pt x="15533" y="953"/>
                  </a:lnTo>
                  <a:lnTo>
                    <a:pt x="15558" y="807"/>
                  </a:lnTo>
                  <a:lnTo>
                    <a:pt x="15582" y="684"/>
                  </a:lnTo>
                  <a:lnTo>
                    <a:pt x="15558" y="538"/>
                  </a:lnTo>
                  <a:lnTo>
                    <a:pt x="15533" y="416"/>
                  </a:lnTo>
                  <a:lnTo>
                    <a:pt x="15460" y="294"/>
                  </a:lnTo>
                  <a:lnTo>
                    <a:pt x="15387" y="196"/>
                  </a:lnTo>
                  <a:lnTo>
                    <a:pt x="15289" y="98"/>
                  </a:lnTo>
                  <a:lnTo>
                    <a:pt x="15167" y="49"/>
                  </a:lnTo>
                  <a:lnTo>
                    <a:pt x="1504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chemeClr val="dk1"/>
                </a:solidFill>
              </a:endParaRPr>
            </a:p>
          </p:txBody>
        </p:sp>
      </p:grpSp>
      <p:sp>
        <p:nvSpPr>
          <p:cNvPr id="574" name="Google Shape;574;p43"/>
          <p:cNvSpPr/>
          <p:nvPr/>
        </p:nvSpPr>
        <p:spPr>
          <a:xfrm>
            <a:off x="4570017" y="1105377"/>
            <a:ext cx="246490" cy="202844"/>
          </a:xfrm>
          <a:custGeom>
            <a:avLst/>
            <a:gdLst/>
            <a:ahLst/>
            <a:cxnLst/>
            <a:rect l="l" t="t" r="r" b="b"/>
            <a:pathLst>
              <a:path w="16266" h="16267" extrusionOk="0">
                <a:moveTo>
                  <a:pt x="11503" y="5349"/>
                </a:moveTo>
                <a:lnTo>
                  <a:pt x="11650" y="5398"/>
                </a:lnTo>
                <a:lnTo>
                  <a:pt x="11796" y="5447"/>
                </a:lnTo>
                <a:lnTo>
                  <a:pt x="11919" y="5545"/>
                </a:lnTo>
                <a:lnTo>
                  <a:pt x="12065" y="5691"/>
                </a:lnTo>
                <a:lnTo>
                  <a:pt x="12163" y="5838"/>
                </a:lnTo>
                <a:lnTo>
                  <a:pt x="12212" y="6033"/>
                </a:lnTo>
                <a:lnTo>
                  <a:pt x="12236" y="6229"/>
                </a:lnTo>
                <a:lnTo>
                  <a:pt x="12236" y="6375"/>
                </a:lnTo>
                <a:lnTo>
                  <a:pt x="12187" y="6522"/>
                </a:lnTo>
                <a:lnTo>
                  <a:pt x="12138" y="6644"/>
                </a:lnTo>
                <a:lnTo>
                  <a:pt x="12041" y="6766"/>
                </a:lnTo>
                <a:lnTo>
                  <a:pt x="7938" y="10893"/>
                </a:lnTo>
                <a:lnTo>
                  <a:pt x="7816" y="11015"/>
                </a:lnTo>
                <a:lnTo>
                  <a:pt x="7645" y="11113"/>
                </a:lnTo>
                <a:lnTo>
                  <a:pt x="7474" y="11186"/>
                </a:lnTo>
                <a:lnTo>
                  <a:pt x="7303" y="11211"/>
                </a:lnTo>
                <a:lnTo>
                  <a:pt x="7083" y="11211"/>
                </a:lnTo>
                <a:lnTo>
                  <a:pt x="6912" y="11162"/>
                </a:lnTo>
                <a:lnTo>
                  <a:pt x="6765" y="11064"/>
                </a:lnTo>
                <a:lnTo>
                  <a:pt x="6619" y="10967"/>
                </a:lnTo>
                <a:lnTo>
                  <a:pt x="4567" y="8915"/>
                </a:lnTo>
                <a:lnTo>
                  <a:pt x="4470" y="8769"/>
                </a:lnTo>
                <a:lnTo>
                  <a:pt x="4372" y="8622"/>
                </a:lnTo>
                <a:lnTo>
                  <a:pt x="4323" y="8451"/>
                </a:lnTo>
                <a:lnTo>
                  <a:pt x="4323" y="8280"/>
                </a:lnTo>
                <a:lnTo>
                  <a:pt x="4323" y="8109"/>
                </a:lnTo>
                <a:lnTo>
                  <a:pt x="4372" y="7938"/>
                </a:lnTo>
                <a:lnTo>
                  <a:pt x="4470" y="7792"/>
                </a:lnTo>
                <a:lnTo>
                  <a:pt x="4567" y="7670"/>
                </a:lnTo>
                <a:lnTo>
                  <a:pt x="4714" y="7547"/>
                </a:lnTo>
                <a:lnTo>
                  <a:pt x="4860" y="7474"/>
                </a:lnTo>
                <a:lnTo>
                  <a:pt x="5031" y="7425"/>
                </a:lnTo>
                <a:lnTo>
                  <a:pt x="5202" y="7401"/>
                </a:lnTo>
                <a:lnTo>
                  <a:pt x="5373" y="7425"/>
                </a:lnTo>
                <a:lnTo>
                  <a:pt x="5520" y="7474"/>
                </a:lnTo>
                <a:lnTo>
                  <a:pt x="5691" y="7547"/>
                </a:lnTo>
                <a:lnTo>
                  <a:pt x="5813" y="7670"/>
                </a:lnTo>
                <a:lnTo>
                  <a:pt x="7181" y="9013"/>
                </a:lnTo>
                <a:lnTo>
                  <a:pt x="10673" y="5667"/>
                </a:lnTo>
                <a:lnTo>
                  <a:pt x="10820" y="5520"/>
                </a:lnTo>
                <a:lnTo>
                  <a:pt x="10991" y="5423"/>
                </a:lnTo>
                <a:lnTo>
                  <a:pt x="11161" y="5374"/>
                </a:lnTo>
                <a:lnTo>
                  <a:pt x="11357" y="5349"/>
                </a:lnTo>
                <a:close/>
                <a:moveTo>
                  <a:pt x="7718" y="1"/>
                </a:moveTo>
                <a:lnTo>
                  <a:pt x="7303" y="50"/>
                </a:lnTo>
                <a:lnTo>
                  <a:pt x="6887" y="98"/>
                </a:lnTo>
                <a:lnTo>
                  <a:pt x="6497" y="172"/>
                </a:lnTo>
                <a:lnTo>
                  <a:pt x="6106" y="245"/>
                </a:lnTo>
                <a:lnTo>
                  <a:pt x="5715" y="367"/>
                </a:lnTo>
                <a:lnTo>
                  <a:pt x="5349" y="489"/>
                </a:lnTo>
                <a:lnTo>
                  <a:pt x="4958" y="636"/>
                </a:lnTo>
                <a:lnTo>
                  <a:pt x="4616" y="807"/>
                </a:lnTo>
                <a:lnTo>
                  <a:pt x="4250" y="978"/>
                </a:lnTo>
                <a:lnTo>
                  <a:pt x="3908" y="1173"/>
                </a:lnTo>
                <a:lnTo>
                  <a:pt x="3590" y="1393"/>
                </a:lnTo>
                <a:lnTo>
                  <a:pt x="3273" y="1613"/>
                </a:lnTo>
                <a:lnTo>
                  <a:pt x="2955" y="1857"/>
                </a:lnTo>
                <a:lnTo>
                  <a:pt x="2662" y="2125"/>
                </a:lnTo>
                <a:lnTo>
                  <a:pt x="2394" y="2394"/>
                </a:lnTo>
                <a:lnTo>
                  <a:pt x="2125" y="2663"/>
                </a:lnTo>
                <a:lnTo>
                  <a:pt x="1856" y="2956"/>
                </a:lnTo>
                <a:lnTo>
                  <a:pt x="1612" y="3273"/>
                </a:lnTo>
                <a:lnTo>
                  <a:pt x="1392" y="3591"/>
                </a:lnTo>
                <a:lnTo>
                  <a:pt x="1172" y="3908"/>
                </a:lnTo>
                <a:lnTo>
                  <a:pt x="977" y="4250"/>
                </a:lnTo>
                <a:lnTo>
                  <a:pt x="806" y="4617"/>
                </a:lnTo>
                <a:lnTo>
                  <a:pt x="635" y="4959"/>
                </a:lnTo>
                <a:lnTo>
                  <a:pt x="489" y="5349"/>
                </a:lnTo>
                <a:lnTo>
                  <a:pt x="366" y="5716"/>
                </a:lnTo>
                <a:lnTo>
                  <a:pt x="244" y="6106"/>
                </a:lnTo>
                <a:lnTo>
                  <a:pt x="171" y="6497"/>
                </a:lnTo>
                <a:lnTo>
                  <a:pt x="98" y="6888"/>
                </a:lnTo>
                <a:lnTo>
                  <a:pt x="49" y="7303"/>
                </a:lnTo>
                <a:lnTo>
                  <a:pt x="0" y="7718"/>
                </a:lnTo>
                <a:lnTo>
                  <a:pt x="0" y="8134"/>
                </a:lnTo>
                <a:lnTo>
                  <a:pt x="0" y="8549"/>
                </a:lnTo>
                <a:lnTo>
                  <a:pt x="49" y="8964"/>
                </a:lnTo>
                <a:lnTo>
                  <a:pt x="98" y="9379"/>
                </a:lnTo>
                <a:lnTo>
                  <a:pt x="171" y="9770"/>
                </a:lnTo>
                <a:lnTo>
                  <a:pt x="244" y="10161"/>
                </a:lnTo>
                <a:lnTo>
                  <a:pt x="366" y="10551"/>
                </a:lnTo>
                <a:lnTo>
                  <a:pt x="489" y="10918"/>
                </a:lnTo>
                <a:lnTo>
                  <a:pt x="635" y="11309"/>
                </a:lnTo>
                <a:lnTo>
                  <a:pt x="806" y="11650"/>
                </a:lnTo>
                <a:lnTo>
                  <a:pt x="977" y="12017"/>
                </a:lnTo>
                <a:lnTo>
                  <a:pt x="1172" y="12359"/>
                </a:lnTo>
                <a:lnTo>
                  <a:pt x="1392" y="12676"/>
                </a:lnTo>
                <a:lnTo>
                  <a:pt x="1612" y="12994"/>
                </a:lnTo>
                <a:lnTo>
                  <a:pt x="1856" y="13311"/>
                </a:lnTo>
                <a:lnTo>
                  <a:pt x="2125" y="13604"/>
                </a:lnTo>
                <a:lnTo>
                  <a:pt x="2394" y="13873"/>
                </a:lnTo>
                <a:lnTo>
                  <a:pt x="2662" y="14142"/>
                </a:lnTo>
                <a:lnTo>
                  <a:pt x="2955" y="14410"/>
                </a:lnTo>
                <a:lnTo>
                  <a:pt x="3273" y="14655"/>
                </a:lnTo>
                <a:lnTo>
                  <a:pt x="3590" y="14874"/>
                </a:lnTo>
                <a:lnTo>
                  <a:pt x="3908" y="15094"/>
                </a:lnTo>
                <a:lnTo>
                  <a:pt x="4250" y="15290"/>
                </a:lnTo>
                <a:lnTo>
                  <a:pt x="4616" y="15460"/>
                </a:lnTo>
                <a:lnTo>
                  <a:pt x="4958" y="15631"/>
                </a:lnTo>
                <a:lnTo>
                  <a:pt x="5349" y="15778"/>
                </a:lnTo>
                <a:lnTo>
                  <a:pt x="5715" y="15900"/>
                </a:lnTo>
                <a:lnTo>
                  <a:pt x="6106" y="16022"/>
                </a:lnTo>
                <a:lnTo>
                  <a:pt x="6497" y="16095"/>
                </a:lnTo>
                <a:lnTo>
                  <a:pt x="6887" y="16169"/>
                </a:lnTo>
                <a:lnTo>
                  <a:pt x="7303" y="16218"/>
                </a:lnTo>
                <a:lnTo>
                  <a:pt x="7718" y="16266"/>
                </a:lnTo>
                <a:lnTo>
                  <a:pt x="8548" y="16266"/>
                </a:lnTo>
                <a:lnTo>
                  <a:pt x="8963" y="16218"/>
                </a:lnTo>
                <a:lnTo>
                  <a:pt x="9379" y="16169"/>
                </a:lnTo>
                <a:lnTo>
                  <a:pt x="9769" y="16095"/>
                </a:lnTo>
                <a:lnTo>
                  <a:pt x="10160" y="16022"/>
                </a:lnTo>
                <a:lnTo>
                  <a:pt x="10551" y="15900"/>
                </a:lnTo>
                <a:lnTo>
                  <a:pt x="10942" y="15778"/>
                </a:lnTo>
                <a:lnTo>
                  <a:pt x="11308" y="15631"/>
                </a:lnTo>
                <a:lnTo>
                  <a:pt x="11650" y="15460"/>
                </a:lnTo>
                <a:lnTo>
                  <a:pt x="12016" y="15290"/>
                </a:lnTo>
                <a:lnTo>
                  <a:pt x="12358" y="15094"/>
                </a:lnTo>
                <a:lnTo>
                  <a:pt x="12676" y="14874"/>
                </a:lnTo>
                <a:lnTo>
                  <a:pt x="12993" y="14655"/>
                </a:lnTo>
                <a:lnTo>
                  <a:pt x="13311" y="14410"/>
                </a:lnTo>
                <a:lnTo>
                  <a:pt x="13604" y="14142"/>
                </a:lnTo>
                <a:lnTo>
                  <a:pt x="13872" y="13873"/>
                </a:lnTo>
                <a:lnTo>
                  <a:pt x="14166" y="13604"/>
                </a:lnTo>
                <a:lnTo>
                  <a:pt x="14410" y="13311"/>
                </a:lnTo>
                <a:lnTo>
                  <a:pt x="14654" y="12994"/>
                </a:lnTo>
                <a:lnTo>
                  <a:pt x="14874" y="12676"/>
                </a:lnTo>
                <a:lnTo>
                  <a:pt x="15094" y="12359"/>
                </a:lnTo>
                <a:lnTo>
                  <a:pt x="15289" y="12017"/>
                </a:lnTo>
                <a:lnTo>
                  <a:pt x="15460" y="11650"/>
                </a:lnTo>
                <a:lnTo>
                  <a:pt x="15631" y="11309"/>
                </a:lnTo>
                <a:lnTo>
                  <a:pt x="15777" y="10918"/>
                </a:lnTo>
                <a:lnTo>
                  <a:pt x="15900" y="10551"/>
                </a:lnTo>
                <a:lnTo>
                  <a:pt x="16022" y="10161"/>
                </a:lnTo>
                <a:lnTo>
                  <a:pt x="16095" y="9770"/>
                </a:lnTo>
                <a:lnTo>
                  <a:pt x="16168" y="9379"/>
                </a:lnTo>
                <a:lnTo>
                  <a:pt x="16217" y="8964"/>
                </a:lnTo>
                <a:lnTo>
                  <a:pt x="16266" y="8549"/>
                </a:lnTo>
                <a:lnTo>
                  <a:pt x="16266" y="8134"/>
                </a:lnTo>
                <a:lnTo>
                  <a:pt x="16266" y="7718"/>
                </a:lnTo>
                <a:lnTo>
                  <a:pt x="16217" y="7303"/>
                </a:lnTo>
                <a:lnTo>
                  <a:pt x="16168" y="6888"/>
                </a:lnTo>
                <a:lnTo>
                  <a:pt x="16095" y="6497"/>
                </a:lnTo>
                <a:lnTo>
                  <a:pt x="16022" y="6106"/>
                </a:lnTo>
                <a:lnTo>
                  <a:pt x="15900" y="5716"/>
                </a:lnTo>
                <a:lnTo>
                  <a:pt x="15777" y="5349"/>
                </a:lnTo>
                <a:lnTo>
                  <a:pt x="15631" y="4959"/>
                </a:lnTo>
                <a:lnTo>
                  <a:pt x="15460" y="4617"/>
                </a:lnTo>
                <a:lnTo>
                  <a:pt x="15289" y="4250"/>
                </a:lnTo>
                <a:lnTo>
                  <a:pt x="15094" y="3908"/>
                </a:lnTo>
                <a:lnTo>
                  <a:pt x="14874" y="3591"/>
                </a:lnTo>
                <a:lnTo>
                  <a:pt x="14654" y="3273"/>
                </a:lnTo>
                <a:lnTo>
                  <a:pt x="14410" y="2956"/>
                </a:lnTo>
                <a:lnTo>
                  <a:pt x="14166" y="2663"/>
                </a:lnTo>
                <a:lnTo>
                  <a:pt x="13872" y="2394"/>
                </a:lnTo>
                <a:lnTo>
                  <a:pt x="13604" y="2125"/>
                </a:lnTo>
                <a:lnTo>
                  <a:pt x="13311" y="1857"/>
                </a:lnTo>
                <a:lnTo>
                  <a:pt x="12993" y="1613"/>
                </a:lnTo>
                <a:lnTo>
                  <a:pt x="12676" y="1393"/>
                </a:lnTo>
                <a:lnTo>
                  <a:pt x="12358" y="1173"/>
                </a:lnTo>
                <a:lnTo>
                  <a:pt x="12016" y="978"/>
                </a:lnTo>
                <a:lnTo>
                  <a:pt x="11650" y="807"/>
                </a:lnTo>
                <a:lnTo>
                  <a:pt x="11308" y="636"/>
                </a:lnTo>
                <a:lnTo>
                  <a:pt x="10942" y="489"/>
                </a:lnTo>
                <a:lnTo>
                  <a:pt x="10551" y="367"/>
                </a:lnTo>
                <a:lnTo>
                  <a:pt x="10160" y="245"/>
                </a:lnTo>
                <a:lnTo>
                  <a:pt x="9769" y="172"/>
                </a:lnTo>
                <a:lnTo>
                  <a:pt x="9379" y="98"/>
                </a:lnTo>
                <a:lnTo>
                  <a:pt x="8963" y="50"/>
                </a:lnTo>
                <a:lnTo>
                  <a:pt x="8548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solidFill>
                <a:schemeClr val="dk1"/>
              </a:solidFill>
            </a:endParaRPr>
          </a:p>
        </p:txBody>
      </p:sp>
      <p:grpSp>
        <p:nvGrpSpPr>
          <p:cNvPr id="575" name="Google Shape;575;p43"/>
          <p:cNvGrpSpPr/>
          <p:nvPr/>
        </p:nvGrpSpPr>
        <p:grpSpPr>
          <a:xfrm>
            <a:off x="6532817" y="1102945"/>
            <a:ext cx="246522" cy="238331"/>
            <a:chOff x="1958100" y="4985350"/>
            <a:chExt cx="365150" cy="465275"/>
          </a:xfrm>
          <a:solidFill>
            <a:schemeClr val="bg1"/>
          </a:solidFill>
        </p:grpSpPr>
        <p:sp>
          <p:nvSpPr>
            <p:cNvPr id="576" name="Google Shape;576;p43"/>
            <p:cNvSpPr/>
            <p:nvPr/>
          </p:nvSpPr>
          <p:spPr>
            <a:xfrm>
              <a:off x="1958100" y="4985350"/>
              <a:ext cx="365150" cy="465275"/>
            </a:xfrm>
            <a:custGeom>
              <a:avLst/>
              <a:gdLst/>
              <a:ahLst/>
              <a:cxnLst/>
              <a:rect l="l" t="t" r="r" b="b"/>
              <a:pathLst>
                <a:path w="14606" h="18611" extrusionOk="0">
                  <a:moveTo>
                    <a:pt x="4152" y="1734"/>
                  </a:moveTo>
                  <a:lnTo>
                    <a:pt x="4274" y="1759"/>
                  </a:lnTo>
                  <a:lnTo>
                    <a:pt x="4397" y="1783"/>
                  </a:lnTo>
                  <a:lnTo>
                    <a:pt x="4543" y="1808"/>
                  </a:lnTo>
                  <a:lnTo>
                    <a:pt x="4812" y="1930"/>
                  </a:lnTo>
                  <a:lnTo>
                    <a:pt x="5105" y="2125"/>
                  </a:lnTo>
                  <a:lnTo>
                    <a:pt x="5398" y="2394"/>
                  </a:lnTo>
                  <a:lnTo>
                    <a:pt x="5496" y="2516"/>
                  </a:lnTo>
                  <a:lnTo>
                    <a:pt x="5593" y="2638"/>
                  </a:lnTo>
                  <a:lnTo>
                    <a:pt x="5789" y="2956"/>
                  </a:lnTo>
                  <a:lnTo>
                    <a:pt x="5935" y="3322"/>
                  </a:lnTo>
                  <a:lnTo>
                    <a:pt x="6057" y="3688"/>
                  </a:lnTo>
                  <a:lnTo>
                    <a:pt x="6155" y="4079"/>
                  </a:lnTo>
                  <a:lnTo>
                    <a:pt x="6204" y="4470"/>
                  </a:lnTo>
                  <a:lnTo>
                    <a:pt x="6277" y="4836"/>
                  </a:lnTo>
                  <a:lnTo>
                    <a:pt x="6302" y="5154"/>
                  </a:lnTo>
                  <a:lnTo>
                    <a:pt x="5984" y="5129"/>
                  </a:lnTo>
                  <a:lnTo>
                    <a:pt x="5618" y="5080"/>
                  </a:lnTo>
                  <a:lnTo>
                    <a:pt x="5227" y="5007"/>
                  </a:lnTo>
                  <a:lnTo>
                    <a:pt x="4836" y="4909"/>
                  </a:lnTo>
                  <a:lnTo>
                    <a:pt x="4470" y="4787"/>
                  </a:lnTo>
                  <a:lnTo>
                    <a:pt x="4104" y="4641"/>
                  </a:lnTo>
                  <a:lnTo>
                    <a:pt x="3786" y="4445"/>
                  </a:lnTo>
                  <a:lnTo>
                    <a:pt x="3664" y="4348"/>
                  </a:lnTo>
                  <a:lnTo>
                    <a:pt x="3542" y="4250"/>
                  </a:lnTo>
                  <a:lnTo>
                    <a:pt x="3273" y="3957"/>
                  </a:lnTo>
                  <a:lnTo>
                    <a:pt x="3078" y="3664"/>
                  </a:lnTo>
                  <a:lnTo>
                    <a:pt x="2956" y="3395"/>
                  </a:lnTo>
                  <a:lnTo>
                    <a:pt x="2931" y="3273"/>
                  </a:lnTo>
                  <a:lnTo>
                    <a:pt x="2907" y="3127"/>
                  </a:lnTo>
                  <a:lnTo>
                    <a:pt x="2882" y="3004"/>
                  </a:lnTo>
                  <a:lnTo>
                    <a:pt x="2907" y="2858"/>
                  </a:lnTo>
                  <a:lnTo>
                    <a:pt x="2931" y="2736"/>
                  </a:lnTo>
                  <a:lnTo>
                    <a:pt x="2956" y="2614"/>
                  </a:lnTo>
                  <a:lnTo>
                    <a:pt x="3004" y="2492"/>
                  </a:lnTo>
                  <a:lnTo>
                    <a:pt x="3078" y="2369"/>
                  </a:lnTo>
                  <a:lnTo>
                    <a:pt x="3273" y="2125"/>
                  </a:lnTo>
                  <a:lnTo>
                    <a:pt x="3517" y="1930"/>
                  </a:lnTo>
                  <a:lnTo>
                    <a:pt x="3639" y="1857"/>
                  </a:lnTo>
                  <a:lnTo>
                    <a:pt x="3762" y="1808"/>
                  </a:lnTo>
                  <a:lnTo>
                    <a:pt x="3884" y="1783"/>
                  </a:lnTo>
                  <a:lnTo>
                    <a:pt x="4006" y="1759"/>
                  </a:lnTo>
                  <a:lnTo>
                    <a:pt x="4152" y="1734"/>
                  </a:lnTo>
                  <a:close/>
                  <a:moveTo>
                    <a:pt x="10454" y="1734"/>
                  </a:moveTo>
                  <a:lnTo>
                    <a:pt x="10600" y="1759"/>
                  </a:lnTo>
                  <a:lnTo>
                    <a:pt x="10722" y="1783"/>
                  </a:lnTo>
                  <a:lnTo>
                    <a:pt x="10844" y="1808"/>
                  </a:lnTo>
                  <a:lnTo>
                    <a:pt x="10966" y="1857"/>
                  </a:lnTo>
                  <a:lnTo>
                    <a:pt x="11089" y="1930"/>
                  </a:lnTo>
                  <a:lnTo>
                    <a:pt x="11333" y="2125"/>
                  </a:lnTo>
                  <a:lnTo>
                    <a:pt x="11528" y="2369"/>
                  </a:lnTo>
                  <a:lnTo>
                    <a:pt x="11601" y="2492"/>
                  </a:lnTo>
                  <a:lnTo>
                    <a:pt x="11650" y="2614"/>
                  </a:lnTo>
                  <a:lnTo>
                    <a:pt x="11675" y="2736"/>
                  </a:lnTo>
                  <a:lnTo>
                    <a:pt x="11699" y="2858"/>
                  </a:lnTo>
                  <a:lnTo>
                    <a:pt x="11724" y="3004"/>
                  </a:lnTo>
                  <a:lnTo>
                    <a:pt x="11699" y="3127"/>
                  </a:lnTo>
                  <a:lnTo>
                    <a:pt x="11675" y="3273"/>
                  </a:lnTo>
                  <a:lnTo>
                    <a:pt x="11650" y="3395"/>
                  </a:lnTo>
                  <a:lnTo>
                    <a:pt x="11528" y="3664"/>
                  </a:lnTo>
                  <a:lnTo>
                    <a:pt x="11333" y="3957"/>
                  </a:lnTo>
                  <a:lnTo>
                    <a:pt x="11064" y="4250"/>
                  </a:lnTo>
                  <a:lnTo>
                    <a:pt x="10942" y="4348"/>
                  </a:lnTo>
                  <a:lnTo>
                    <a:pt x="10820" y="4445"/>
                  </a:lnTo>
                  <a:lnTo>
                    <a:pt x="10502" y="4641"/>
                  </a:lnTo>
                  <a:lnTo>
                    <a:pt x="10136" y="4787"/>
                  </a:lnTo>
                  <a:lnTo>
                    <a:pt x="9770" y="4909"/>
                  </a:lnTo>
                  <a:lnTo>
                    <a:pt x="9379" y="5007"/>
                  </a:lnTo>
                  <a:lnTo>
                    <a:pt x="8988" y="5080"/>
                  </a:lnTo>
                  <a:lnTo>
                    <a:pt x="8622" y="5129"/>
                  </a:lnTo>
                  <a:lnTo>
                    <a:pt x="8304" y="5154"/>
                  </a:lnTo>
                  <a:lnTo>
                    <a:pt x="8329" y="4836"/>
                  </a:lnTo>
                  <a:lnTo>
                    <a:pt x="8402" y="4470"/>
                  </a:lnTo>
                  <a:lnTo>
                    <a:pt x="8451" y="4079"/>
                  </a:lnTo>
                  <a:lnTo>
                    <a:pt x="8549" y="3688"/>
                  </a:lnTo>
                  <a:lnTo>
                    <a:pt x="8671" y="3322"/>
                  </a:lnTo>
                  <a:lnTo>
                    <a:pt x="8817" y="2956"/>
                  </a:lnTo>
                  <a:lnTo>
                    <a:pt x="9013" y="2638"/>
                  </a:lnTo>
                  <a:lnTo>
                    <a:pt x="9110" y="2516"/>
                  </a:lnTo>
                  <a:lnTo>
                    <a:pt x="9208" y="2394"/>
                  </a:lnTo>
                  <a:lnTo>
                    <a:pt x="9501" y="2125"/>
                  </a:lnTo>
                  <a:lnTo>
                    <a:pt x="9794" y="1930"/>
                  </a:lnTo>
                  <a:lnTo>
                    <a:pt x="10063" y="1808"/>
                  </a:lnTo>
                  <a:lnTo>
                    <a:pt x="10209" y="1783"/>
                  </a:lnTo>
                  <a:lnTo>
                    <a:pt x="10331" y="1759"/>
                  </a:lnTo>
                  <a:lnTo>
                    <a:pt x="10454" y="1734"/>
                  </a:lnTo>
                  <a:close/>
                  <a:moveTo>
                    <a:pt x="3639" y="0"/>
                  </a:moveTo>
                  <a:lnTo>
                    <a:pt x="3395" y="25"/>
                  </a:lnTo>
                  <a:lnTo>
                    <a:pt x="3151" y="74"/>
                  </a:lnTo>
                  <a:lnTo>
                    <a:pt x="2907" y="147"/>
                  </a:lnTo>
                  <a:lnTo>
                    <a:pt x="2687" y="220"/>
                  </a:lnTo>
                  <a:lnTo>
                    <a:pt x="2467" y="342"/>
                  </a:lnTo>
                  <a:lnTo>
                    <a:pt x="2272" y="464"/>
                  </a:lnTo>
                  <a:lnTo>
                    <a:pt x="2101" y="611"/>
                  </a:lnTo>
                  <a:lnTo>
                    <a:pt x="1930" y="782"/>
                  </a:lnTo>
                  <a:lnTo>
                    <a:pt x="1759" y="953"/>
                  </a:lnTo>
                  <a:lnTo>
                    <a:pt x="1612" y="1124"/>
                  </a:lnTo>
                  <a:lnTo>
                    <a:pt x="1490" y="1344"/>
                  </a:lnTo>
                  <a:lnTo>
                    <a:pt x="1368" y="1539"/>
                  </a:lnTo>
                  <a:lnTo>
                    <a:pt x="1295" y="1759"/>
                  </a:lnTo>
                  <a:lnTo>
                    <a:pt x="1222" y="2003"/>
                  </a:lnTo>
                  <a:lnTo>
                    <a:pt x="1173" y="2247"/>
                  </a:lnTo>
                  <a:lnTo>
                    <a:pt x="1148" y="2492"/>
                  </a:lnTo>
                  <a:lnTo>
                    <a:pt x="1173" y="2760"/>
                  </a:lnTo>
                  <a:lnTo>
                    <a:pt x="1197" y="3029"/>
                  </a:lnTo>
                  <a:lnTo>
                    <a:pt x="1295" y="3298"/>
                  </a:lnTo>
                  <a:lnTo>
                    <a:pt x="1393" y="3566"/>
                  </a:lnTo>
                  <a:lnTo>
                    <a:pt x="1539" y="3859"/>
                  </a:lnTo>
                  <a:lnTo>
                    <a:pt x="1734" y="4152"/>
                  </a:lnTo>
                  <a:lnTo>
                    <a:pt x="1954" y="4445"/>
                  </a:lnTo>
                  <a:lnTo>
                    <a:pt x="2223" y="4739"/>
                  </a:lnTo>
                  <a:lnTo>
                    <a:pt x="2394" y="4885"/>
                  </a:lnTo>
                  <a:lnTo>
                    <a:pt x="2565" y="5007"/>
                  </a:lnTo>
                  <a:lnTo>
                    <a:pt x="2931" y="5251"/>
                  </a:lnTo>
                  <a:lnTo>
                    <a:pt x="3346" y="5471"/>
                  </a:lnTo>
                  <a:lnTo>
                    <a:pt x="3762" y="5642"/>
                  </a:lnTo>
                  <a:lnTo>
                    <a:pt x="391" y="5642"/>
                  </a:lnTo>
                  <a:lnTo>
                    <a:pt x="318" y="5667"/>
                  </a:lnTo>
                  <a:lnTo>
                    <a:pt x="220" y="5715"/>
                  </a:lnTo>
                  <a:lnTo>
                    <a:pt x="147" y="5789"/>
                  </a:lnTo>
                  <a:lnTo>
                    <a:pt x="98" y="5838"/>
                  </a:lnTo>
                  <a:lnTo>
                    <a:pt x="49" y="5935"/>
                  </a:lnTo>
                  <a:lnTo>
                    <a:pt x="25" y="6033"/>
                  </a:lnTo>
                  <a:lnTo>
                    <a:pt x="0" y="6131"/>
                  </a:lnTo>
                  <a:lnTo>
                    <a:pt x="0" y="9599"/>
                  </a:lnTo>
                  <a:lnTo>
                    <a:pt x="5325" y="9599"/>
                  </a:lnTo>
                  <a:lnTo>
                    <a:pt x="5325" y="6009"/>
                  </a:lnTo>
                  <a:lnTo>
                    <a:pt x="5813" y="6082"/>
                  </a:lnTo>
                  <a:lnTo>
                    <a:pt x="5813" y="18611"/>
                  </a:lnTo>
                  <a:lnTo>
                    <a:pt x="8793" y="18611"/>
                  </a:lnTo>
                  <a:lnTo>
                    <a:pt x="8793" y="6082"/>
                  </a:lnTo>
                  <a:lnTo>
                    <a:pt x="9281" y="6009"/>
                  </a:lnTo>
                  <a:lnTo>
                    <a:pt x="9281" y="9599"/>
                  </a:lnTo>
                  <a:lnTo>
                    <a:pt x="14605" y="9599"/>
                  </a:lnTo>
                  <a:lnTo>
                    <a:pt x="14605" y="6131"/>
                  </a:lnTo>
                  <a:lnTo>
                    <a:pt x="14581" y="6033"/>
                  </a:lnTo>
                  <a:lnTo>
                    <a:pt x="14557" y="5935"/>
                  </a:lnTo>
                  <a:lnTo>
                    <a:pt x="14508" y="5838"/>
                  </a:lnTo>
                  <a:lnTo>
                    <a:pt x="14459" y="5789"/>
                  </a:lnTo>
                  <a:lnTo>
                    <a:pt x="14386" y="5715"/>
                  </a:lnTo>
                  <a:lnTo>
                    <a:pt x="14288" y="5667"/>
                  </a:lnTo>
                  <a:lnTo>
                    <a:pt x="14215" y="5642"/>
                  </a:lnTo>
                  <a:lnTo>
                    <a:pt x="10844" y="5642"/>
                  </a:lnTo>
                  <a:lnTo>
                    <a:pt x="11259" y="5471"/>
                  </a:lnTo>
                  <a:lnTo>
                    <a:pt x="11675" y="5251"/>
                  </a:lnTo>
                  <a:lnTo>
                    <a:pt x="12041" y="5007"/>
                  </a:lnTo>
                  <a:lnTo>
                    <a:pt x="12212" y="4885"/>
                  </a:lnTo>
                  <a:lnTo>
                    <a:pt x="12383" y="4739"/>
                  </a:lnTo>
                  <a:lnTo>
                    <a:pt x="12652" y="4445"/>
                  </a:lnTo>
                  <a:lnTo>
                    <a:pt x="12871" y="4152"/>
                  </a:lnTo>
                  <a:lnTo>
                    <a:pt x="13067" y="3859"/>
                  </a:lnTo>
                  <a:lnTo>
                    <a:pt x="13213" y="3566"/>
                  </a:lnTo>
                  <a:lnTo>
                    <a:pt x="13311" y="3298"/>
                  </a:lnTo>
                  <a:lnTo>
                    <a:pt x="13409" y="3029"/>
                  </a:lnTo>
                  <a:lnTo>
                    <a:pt x="13433" y="2760"/>
                  </a:lnTo>
                  <a:lnTo>
                    <a:pt x="13458" y="2492"/>
                  </a:lnTo>
                  <a:lnTo>
                    <a:pt x="13433" y="2247"/>
                  </a:lnTo>
                  <a:lnTo>
                    <a:pt x="13384" y="2003"/>
                  </a:lnTo>
                  <a:lnTo>
                    <a:pt x="13311" y="1759"/>
                  </a:lnTo>
                  <a:lnTo>
                    <a:pt x="13238" y="1539"/>
                  </a:lnTo>
                  <a:lnTo>
                    <a:pt x="13116" y="1344"/>
                  </a:lnTo>
                  <a:lnTo>
                    <a:pt x="12994" y="1124"/>
                  </a:lnTo>
                  <a:lnTo>
                    <a:pt x="12847" y="953"/>
                  </a:lnTo>
                  <a:lnTo>
                    <a:pt x="12676" y="782"/>
                  </a:lnTo>
                  <a:lnTo>
                    <a:pt x="12505" y="611"/>
                  </a:lnTo>
                  <a:lnTo>
                    <a:pt x="12334" y="464"/>
                  </a:lnTo>
                  <a:lnTo>
                    <a:pt x="12139" y="342"/>
                  </a:lnTo>
                  <a:lnTo>
                    <a:pt x="11919" y="220"/>
                  </a:lnTo>
                  <a:lnTo>
                    <a:pt x="11699" y="147"/>
                  </a:lnTo>
                  <a:lnTo>
                    <a:pt x="11455" y="74"/>
                  </a:lnTo>
                  <a:lnTo>
                    <a:pt x="11211" y="25"/>
                  </a:lnTo>
                  <a:lnTo>
                    <a:pt x="10966" y="0"/>
                  </a:lnTo>
                  <a:lnTo>
                    <a:pt x="10698" y="25"/>
                  </a:lnTo>
                  <a:lnTo>
                    <a:pt x="10429" y="49"/>
                  </a:lnTo>
                  <a:lnTo>
                    <a:pt x="10160" y="147"/>
                  </a:lnTo>
                  <a:lnTo>
                    <a:pt x="9892" y="245"/>
                  </a:lnTo>
                  <a:lnTo>
                    <a:pt x="9599" y="391"/>
                  </a:lnTo>
                  <a:lnTo>
                    <a:pt x="9306" y="587"/>
                  </a:lnTo>
                  <a:lnTo>
                    <a:pt x="9013" y="806"/>
                  </a:lnTo>
                  <a:lnTo>
                    <a:pt x="8719" y="1075"/>
                  </a:lnTo>
                  <a:lnTo>
                    <a:pt x="8475" y="1368"/>
                  </a:lnTo>
                  <a:lnTo>
                    <a:pt x="8280" y="1661"/>
                  </a:lnTo>
                  <a:lnTo>
                    <a:pt x="8084" y="2003"/>
                  </a:lnTo>
                  <a:lnTo>
                    <a:pt x="7914" y="2369"/>
                  </a:lnTo>
                  <a:lnTo>
                    <a:pt x="7791" y="2736"/>
                  </a:lnTo>
                  <a:lnTo>
                    <a:pt x="7669" y="3102"/>
                  </a:lnTo>
                  <a:lnTo>
                    <a:pt x="7572" y="3469"/>
                  </a:lnTo>
                  <a:lnTo>
                    <a:pt x="7498" y="3835"/>
                  </a:lnTo>
                  <a:lnTo>
                    <a:pt x="7401" y="4519"/>
                  </a:lnTo>
                  <a:lnTo>
                    <a:pt x="7327" y="5080"/>
                  </a:lnTo>
                  <a:lnTo>
                    <a:pt x="7303" y="5667"/>
                  </a:lnTo>
                  <a:lnTo>
                    <a:pt x="7279" y="5080"/>
                  </a:lnTo>
                  <a:lnTo>
                    <a:pt x="7205" y="4519"/>
                  </a:lnTo>
                  <a:lnTo>
                    <a:pt x="7108" y="3835"/>
                  </a:lnTo>
                  <a:lnTo>
                    <a:pt x="7034" y="3469"/>
                  </a:lnTo>
                  <a:lnTo>
                    <a:pt x="6937" y="3102"/>
                  </a:lnTo>
                  <a:lnTo>
                    <a:pt x="6814" y="2736"/>
                  </a:lnTo>
                  <a:lnTo>
                    <a:pt x="6692" y="2369"/>
                  </a:lnTo>
                  <a:lnTo>
                    <a:pt x="6521" y="2003"/>
                  </a:lnTo>
                  <a:lnTo>
                    <a:pt x="6326" y="1661"/>
                  </a:lnTo>
                  <a:lnTo>
                    <a:pt x="6131" y="1368"/>
                  </a:lnTo>
                  <a:lnTo>
                    <a:pt x="5886" y="1075"/>
                  </a:lnTo>
                  <a:lnTo>
                    <a:pt x="5593" y="806"/>
                  </a:lnTo>
                  <a:lnTo>
                    <a:pt x="5300" y="587"/>
                  </a:lnTo>
                  <a:lnTo>
                    <a:pt x="5007" y="391"/>
                  </a:lnTo>
                  <a:lnTo>
                    <a:pt x="4714" y="245"/>
                  </a:lnTo>
                  <a:lnTo>
                    <a:pt x="4445" y="147"/>
                  </a:lnTo>
                  <a:lnTo>
                    <a:pt x="4177" y="49"/>
                  </a:lnTo>
                  <a:lnTo>
                    <a:pt x="3908" y="25"/>
                  </a:lnTo>
                  <a:lnTo>
                    <a:pt x="36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chemeClr val="dk1"/>
                </a:solidFill>
              </a:endParaRPr>
            </a:p>
          </p:txBody>
        </p:sp>
        <p:sp>
          <p:nvSpPr>
            <p:cNvPr id="577" name="Google Shape;577;p43"/>
            <p:cNvSpPr/>
            <p:nvPr/>
          </p:nvSpPr>
          <p:spPr>
            <a:xfrm>
              <a:off x="1977625" y="5237525"/>
              <a:ext cx="113600" cy="213100"/>
            </a:xfrm>
            <a:custGeom>
              <a:avLst/>
              <a:gdLst/>
              <a:ahLst/>
              <a:cxnLst/>
              <a:rect l="l" t="t" r="r" b="b"/>
              <a:pathLst>
                <a:path w="4544" h="8524" extrusionOk="0">
                  <a:moveTo>
                    <a:pt x="1" y="0"/>
                  </a:moveTo>
                  <a:lnTo>
                    <a:pt x="1" y="8035"/>
                  </a:lnTo>
                  <a:lnTo>
                    <a:pt x="25" y="8133"/>
                  </a:lnTo>
                  <a:lnTo>
                    <a:pt x="50" y="8231"/>
                  </a:lnTo>
                  <a:lnTo>
                    <a:pt x="99" y="8304"/>
                  </a:lnTo>
                  <a:lnTo>
                    <a:pt x="148" y="8377"/>
                  </a:lnTo>
                  <a:lnTo>
                    <a:pt x="221" y="8426"/>
                  </a:lnTo>
                  <a:lnTo>
                    <a:pt x="318" y="8475"/>
                  </a:lnTo>
                  <a:lnTo>
                    <a:pt x="392" y="8499"/>
                  </a:lnTo>
                  <a:lnTo>
                    <a:pt x="489" y="8524"/>
                  </a:lnTo>
                  <a:lnTo>
                    <a:pt x="4544" y="8524"/>
                  </a:lnTo>
                  <a:lnTo>
                    <a:pt x="454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chemeClr val="dk1"/>
                </a:solidFill>
              </a:endParaRPr>
            </a:p>
          </p:txBody>
        </p:sp>
        <p:sp>
          <p:nvSpPr>
            <p:cNvPr id="578" name="Google Shape;578;p43"/>
            <p:cNvSpPr/>
            <p:nvPr/>
          </p:nvSpPr>
          <p:spPr>
            <a:xfrm>
              <a:off x="2190125" y="5237525"/>
              <a:ext cx="113575" cy="213100"/>
            </a:xfrm>
            <a:custGeom>
              <a:avLst/>
              <a:gdLst/>
              <a:ahLst/>
              <a:cxnLst/>
              <a:rect l="l" t="t" r="r" b="b"/>
              <a:pathLst>
                <a:path w="4543" h="8524" extrusionOk="0">
                  <a:moveTo>
                    <a:pt x="0" y="0"/>
                  </a:moveTo>
                  <a:lnTo>
                    <a:pt x="0" y="8524"/>
                  </a:lnTo>
                  <a:lnTo>
                    <a:pt x="4054" y="8524"/>
                  </a:lnTo>
                  <a:lnTo>
                    <a:pt x="4152" y="8499"/>
                  </a:lnTo>
                  <a:lnTo>
                    <a:pt x="4225" y="8475"/>
                  </a:lnTo>
                  <a:lnTo>
                    <a:pt x="4323" y="8426"/>
                  </a:lnTo>
                  <a:lnTo>
                    <a:pt x="4396" y="8377"/>
                  </a:lnTo>
                  <a:lnTo>
                    <a:pt x="4445" y="8304"/>
                  </a:lnTo>
                  <a:lnTo>
                    <a:pt x="4494" y="8231"/>
                  </a:lnTo>
                  <a:lnTo>
                    <a:pt x="4518" y="8133"/>
                  </a:lnTo>
                  <a:lnTo>
                    <a:pt x="4543" y="8035"/>
                  </a:lnTo>
                  <a:lnTo>
                    <a:pt x="45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chemeClr val="dk1"/>
                </a:solidFill>
              </a:endParaRPr>
            </a:p>
          </p:txBody>
        </p:sp>
      </p:grpSp>
      <p:grpSp>
        <p:nvGrpSpPr>
          <p:cNvPr id="579" name="Google Shape;579;p43"/>
          <p:cNvGrpSpPr/>
          <p:nvPr/>
        </p:nvGrpSpPr>
        <p:grpSpPr>
          <a:xfrm>
            <a:off x="4535109" y="3113162"/>
            <a:ext cx="278021" cy="260648"/>
            <a:chOff x="4562200" y="4968250"/>
            <a:chExt cx="549550" cy="499475"/>
          </a:xfrm>
          <a:solidFill>
            <a:schemeClr val="bg1"/>
          </a:solidFill>
        </p:grpSpPr>
        <p:sp>
          <p:nvSpPr>
            <p:cNvPr id="580" name="Google Shape;580;p43"/>
            <p:cNvSpPr/>
            <p:nvPr/>
          </p:nvSpPr>
          <p:spPr>
            <a:xfrm>
              <a:off x="4842450" y="5242400"/>
              <a:ext cx="213125" cy="225325"/>
            </a:xfrm>
            <a:custGeom>
              <a:avLst/>
              <a:gdLst/>
              <a:ahLst/>
              <a:cxnLst/>
              <a:rect l="l" t="t" r="r" b="b"/>
              <a:pathLst>
                <a:path w="8525" h="9013" extrusionOk="0">
                  <a:moveTo>
                    <a:pt x="8524" y="1"/>
                  </a:moveTo>
                  <a:lnTo>
                    <a:pt x="2272" y="3542"/>
                  </a:lnTo>
                  <a:lnTo>
                    <a:pt x="2150" y="3591"/>
                  </a:lnTo>
                  <a:lnTo>
                    <a:pt x="2028" y="3615"/>
                  </a:lnTo>
                  <a:lnTo>
                    <a:pt x="1906" y="3591"/>
                  </a:lnTo>
                  <a:lnTo>
                    <a:pt x="1808" y="3566"/>
                  </a:lnTo>
                  <a:lnTo>
                    <a:pt x="1735" y="3517"/>
                  </a:lnTo>
                  <a:lnTo>
                    <a:pt x="1662" y="3444"/>
                  </a:lnTo>
                  <a:lnTo>
                    <a:pt x="1588" y="3371"/>
                  </a:lnTo>
                  <a:lnTo>
                    <a:pt x="1" y="440"/>
                  </a:lnTo>
                  <a:lnTo>
                    <a:pt x="1" y="9013"/>
                  </a:lnTo>
                  <a:lnTo>
                    <a:pt x="8524" y="4104"/>
                  </a:lnTo>
                  <a:lnTo>
                    <a:pt x="8524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chemeClr val="dk1"/>
                </a:solidFill>
              </a:endParaRPr>
            </a:p>
          </p:txBody>
        </p:sp>
        <p:sp>
          <p:nvSpPr>
            <p:cNvPr id="581" name="Google Shape;581;p43"/>
            <p:cNvSpPr/>
            <p:nvPr/>
          </p:nvSpPr>
          <p:spPr>
            <a:xfrm>
              <a:off x="4617775" y="5241800"/>
              <a:ext cx="212500" cy="225925"/>
            </a:xfrm>
            <a:custGeom>
              <a:avLst/>
              <a:gdLst/>
              <a:ahLst/>
              <a:cxnLst/>
              <a:rect l="l" t="t" r="r" b="b"/>
              <a:pathLst>
                <a:path w="8500" h="9037" extrusionOk="0">
                  <a:moveTo>
                    <a:pt x="0" y="0"/>
                  </a:moveTo>
                  <a:lnTo>
                    <a:pt x="0" y="4128"/>
                  </a:lnTo>
                  <a:lnTo>
                    <a:pt x="8499" y="9037"/>
                  </a:lnTo>
                  <a:lnTo>
                    <a:pt x="8499" y="586"/>
                  </a:lnTo>
                  <a:lnTo>
                    <a:pt x="6961" y="3395"/>
                  </a:lnTo>
                  <a:lnTo>
                    <a:pt x="6887" y="3468"/>
                  </a:lnTo>
                  <a:lnTo>
                    <a:pt x="6814" y="3541"/>
                  </a:lnTo>
                  <a:lnTo>
                    <a:pt x="6741" y="3590"/>
                  </a:lnTo>
                  <a:lnTo>
                    <a:pt x="6643" y="3615"/>
                  </a:lnTo>
                  <a:lnTo>
                    <a:pt x="6521" y="3639"/>
                  </a:lnTo>
                  <a:lnTo>
                    <a:pt x="6399" y="3615"/>
                  </a:lnTo>
                  <a:lnTo>
                    <a:pt x="6277" y="356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chemeClr val="dk1"/>
                </a:solidFill>
              </a:endParaRPr>
            </a:p>
          </p:txBody>
        </p:sp>
        <p:sp>
          <p:nvSpPr>
            <p:cNvPr id="582" name="Google Shape;582;p43"/>
            <p:cNvSpPr/>
            <p:nvPr/>
          </p:nvSpPr>
          <p:spPr>
            <a:xfrm>
              <a:off x="4631200" y="4968250"/>
              <a:ext cx="411550" cy="236325"/>
            </a:xfrm>
            <a:custGeom>
              <a:avLst/>
              <a:gdLst/>
              <a:ahLst/>
              <a:cxnLst/>
              <a:rect l="l" t="t" r="r" b="b"/>
              <a:pathLst>
                <a:path w="16462" h="9453" extrusionOk="0">
                  <a:moveTo>
                    <a:pt x="8182" y="1"/>
                  </a:moveTo>
                  <a:lnTo>
                    <a:pt x="0" y="4763"/>
                  </a:lnTo>
                  <a:lnTo>
                    <a:pt x="8231" y="9452"/>
                  </a:lnTo>
                  <a:lnTo>
                    <a:pt x="16462" y="4763"/>
                  </a:lnTo>
                  <a:lnTo>
                    <a:pt x="818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chemeClr val="dk1"/>
                </a:solidFill>
              </a:endParaRPr>
            </a:p>
          </p:txBody>
        </p:sp>
        <p:sp>
          <p:nvSpPr>
            <p:cNvPr id="583" name="Google Shape;583;p43"/>
            <p:cNvSpPr/>
            <p:nvPr/>
          </p:nvSpPr>
          <p:spPr>
            <a:xfrm>
              <a:off x="4562200" y="5094025"/>
              <a:ext cx="274800" cy="226550"/>
            </a:xfrm>
            <a:custGeom>
              <a:avLst/>
              <a:gdLst/>
              <a:ahLst/>
              <a:cxnLst/>
              <a:rect l="l" t="t" r="r" b="b"/>
              <a:pathLst>
                <a:path w="10992" h="9062" extrusionOk="0">
                  <a:moveTo>
                    <a:pt x="2248" y="1"/>
                  </a:moveTo>
                  <a:lnTo>
                    <a:pt x="1" y="4079"/>
                  </a:lnTo>
                  <a:lnTo>
                    <a:pt x="8744" y="9062"/>
                  </a:lnTo>
                  <a:lnTo>
                    <a:pt x="10991" y="4983"/>
                  </a:lnTo>
                  <a:lnTo>
                    <a:pt x="224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chemeClr val="dk1"/>
                </a:solidFill>
              </a:endParaRPr>
            </a:p>
          </p:txBody>
        </p:sp>
        <p:sp>
          <p:nvSpPr>
            <p:cNvPr id="584" name="Google Shape;584;p43"/>
            <p:cNvSpPr/>
            <p:nvPr/>
          </p:nvSpPr>
          <p:spPr>
            <a:xfrm>
              <a:off x="4836975" y="5094025"/>
              <a:ext cx="274775" cy="226550"/>
            </a:xfrm>
            <a:custGeom>
              <a:avLst/>
              <a:gdLst/>
              <a:ahLst/>
              <a:cxnLst/>
              <a:rect l="l" t="t" r="r" b="b"/>
              <a:pathLst>
                <a:path w="10991" h="9062" extrusionOk="0">
                  <a:moveTo>
                    <a:pt x="8743" y="1"/>
                  </a:moveTo>
                  <a:lnTo>
                    <a:pt x="0" y="4983"/>
                  </a:lnTo>
                  <a:lnTo>
                    <a:pt x="2247" y="9062"/>
                  </a:lnTo>
                  <a:lnTo>
                    <a:pt x="10990" y="4079"/>
                  </a:lnTo>
                  <a:lnTo>
                    <a:pt x="874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chemeClr val="dk1"/>
                </a:solidFill>
              </a:endParaRPr>
            </a:p>
          </p:txBody>
        </p:sp>
      </p:grpSp>
      <p:grpSp>
        <p:nvGrpSpPr>
          <p:cNvPr id="585" name="Google Shape;585;p43"/>
          <p:cNvGrpSpPr/>
          <p:nvPr/>
        </p:nvGrpSpPr>
        <p:grpSpPr>
          <a:xfrm>
            <a:off x="10455367" y="1102939"/>
            <a:ext cx="232670" cy="238337"/>
            <a:chOff x="5241175" y="4959100"/>
            <a:chExt cx="539775" cy="517775"/>
          </a:xfrm>
          <a:solidFill>
            <a:schemeClr val="bg1"/>
          </a:solidFill>
        </p:grpSpPr>
        <p:sp>
          <p:nvSpPr>
            <p:cNvPr id="586" name="Google Shape;586;p43"/>
            <p:cNvSpPr/>
            <p:nvPr/>
          </p:nvSpPr>
          <p:spPr>
            <a:xfrm>
              <a:off x="5575150" y="4959100"/>
              <a:ext cx="161225" cy="178300"/>
            </a:xfrm>
            <a:custGeom>
              <a:avLst/>
              <a:gdLst/>
              <a:ahLst/>
              <a:cxnLst/>
              <a:rect l="l" t="t" r="r" b="b"/>
              <a:pathLst>
                <a:path w="6449" h="7132" extrusionOk="0">
                  <a:moveTo>
                    <a:pt x="4641" y="0"/>
                  </a:moveTo>
                  <a:lnTo>
                    <a:pt x="4470" y="25"/>
                  </a:lnTo>
                  <a:lnTo>
                    <a:pt x="4299" y="49"/>
                  </a:lnTo>
                  <a:lnTo>
                    <a:pt x="4128" y="98"/>
                  </a:lnTo>
                  <a:lnTo>
                    <a:pt x="3957" y="147"/>
                  </a:lnTo>
                  <a:lnTo>
                    <a:pt x="3786" y="220"/>
                  </a:lnTo>
                  <a:lnTo>
                    <a:pt x="3640" y="318"/>
                  </a:lnTo>
                  <a:lnTo>
                    <a:pt x="3517" y="415"/>
                  </a:lnTo>
                  <a:lnTo>
                    <a:pt x="3395" y="538"/>
                  </a:lnTo>
                  <a:lnTo>
                    <a:pt x="3273" y="660"/>
                  </a:lnTo>
                  <a:lnTo>
                    <a:pt x="3175" y="806"/>
                  </a:lnTo>
                  <a:lnTo>
                    <a:pt x="3078" y="953"/>
                  </a:lnTo>
                  <a:lnTo>
                    <a:pt x="3005" y="1099"/>
                  </a:lnTo>
                  <a:lnTo>
                    <a:pt x="2931" y="1270"/>
                  </a:lnTo>
                  <a:lnTo>
                    <a:pt x="2907" y="1441"/>
                  </a:lnTo>
                  <a:lnTo>
                    <a:pt x="2882" y="1612"/>
                  </a:lnTo>
                  <a:lnTo>
                    <a:pt x="2858" y="1808"/>
                  </a:lnTo>
                  <a:lnTo>
                    <a:pt x="2882" y="2076"/>
                  </a:lnTo>
                  <a:lnTo>
                    <a:pt x="2956" y="2345"/>
                  </a:lnTo>
                  <a:lnTo>
                    <a:pt x="3053" y="2589"/>
                  </a:lnTo>
                  <a:lnTo>
                    <a:pt x="3175" y="2809"/>
                  </a:lnTo>
                  <a:lnTo>
                    <a:pt x="0" y="6546"/>
                  </a:lnTo>
                  <a:lnTo>
                    <a:pt x="367" y="6814"/>
                  </a:lnTo>
                  <a:lnTo>
                    <a:pt x="709" y="7132"/>
                  </a:lnTo>
                  <a:lnTo>
                    <a:pt x="3884" y="3419"/>
                  </a:lnTo>
                  <a:lnTo>
                    <a:pt x="4055" y="3493"/>
                  </a:lnTo>
                  <a:lnTo>
                    <a:pt x="4250" y="3542"/>
                  </a:lnTo>
                  <a:lnTo>
                    <a:pt x="4445" y="3566"/>
                  </a:lnTo>
                  <a:lnTo>
                    <a:pt x="4641" y="3590"/>
                  </a:lnTo>
                  <a:lnTo>
                    <a:pt x="4836" y="3566"/>
                  </a:lnTo>
                  <a:lnTo>
                    <a:pt x="5007" y="3542"/>
                  </a:lnTo>
                  <a:lnTo>
                    <a:pt x="5178" y="3517"/>
                  </a:lnTo>
                  <a:lnTo>
                    <a:pt x="5349" y="3444"/>
                  </a:lnTo>
                  <a:lnTo>
                    <a:pt x="5496" y="3371"/>
                  </a:lnTo>
                  <a:lnTo>
                    <a:pt x="5642" y="3273"/>
                  </a:lnTo>
                  <a:lnTo>
                    <a:pt x="5789" y="3175"/>
                  </a:lnTo>
                  <a:lnTo>
                    <a:pt x="5911" y="3053"/>
                  </a:lnTo>
                  <a:lnTo>
                    <a:pt x="6033" y="2931"/>
                  </a:lnTo>
                  <a:lnTo>
                    <a:pt x="6131" y="2809"/>
                  </a:lnTo>
                  <a:lnTo>
                    <a:pt x="6228" y="2638"/>
                  </a:lnTo>
                  <a:lnTo>
                    <a:pt x="6302" y="2491"/>
                  </a:lnTo>
                  <a:lnTo>
                    <a:pt x="6350" y="2320"/>
                  </a:lnTo>
                  <a:lnTo>
                    <a:pt x="6399" y="2149"/>
                  </a:lnTo>
                  <a:lnTo>
                    <a:pt x="6424" y="1979"/>
                  </a:lnTo>
                  <a:lnTo>
                    <a:pt x="6448" y="1808"/>
                  </a:lnTo>
                  <a:lnTo>
                    <a:pt x="6424" y="1612"/>
                  </a:lnTo>
                  <a:lnTo>
                    <a:pt x="6399" y="1441"/>
                  </a:lnTo>
                  <a:lnTo>
                    <a:pt x="6350" y="1270"/>
                  </a:lnTo>
                  <a:lnTo>
                    <a:pt x="6302" y="1099"/>
                  </a:lnTo>
                  <a:lnTo>
                    <a:pt x="6228" y="953"/>
                  </a:lnTo>
                  <a:lnTo>
                    <a:pt x="6131" y="806"/>
                  </a:lnTo>
                  <a:lnTo>
                    <a:pt x="6033" y="660"/>
                  </a:lnTo>
                  <a:lnTo>
                    <a:pt x="5911" y="538"/>
                  </a:lnTo>
                  <a:lnTo>
                    <a:pt x="5789" y="415"/>
                  </a:lnTo>
                  <a:lnTo>
                    <a:pt x="5642" y="318"/>
                  </a:lnTo>
                  <a:lnTo>
                    <a:pt x="5496" y="220"/>
                  </a:lnTo>
                  <a:lnTo>
                    <a:pt x="5349" y="147"/>
                  </a:lnTo>
                  <a:lnTo>
                    <a:pt x="5178" y="98"/>
                  </a:lnTo>
                  <a:lnTo>
                    <a:pt x="5007" y="49"/>
                  </a:lnTo>
                  <a:lnTo>
                    <a:pt x="4836" y="25"/>
                  </a:lnTo>
                  <a:lnTo>
                    <a:pt x="464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chemeClr val="dk1"/>
                </a:solidFill>
              </a:endParaRPr>
            </a:p>
          </p:txBody>
        </p:sp>
        <p:sp>
          <p:nvSpPr>
            <p:cNvPr id="587" name="Google Shape;587;p43"/>
            <p:cNvSpPr/>
            <p:nvPr/>
          </p:nvSpPr>
          <p:spPr>
            <a:xfrm>
              <a:off x="5330925" y="4985350"/>
              <a:ext cx="128250" cy="148400"/>
            </a:xfrm>
            <a:custGeom>
              <a:avLst/>
              <a:gdLst/>
              <a:ahLst/>
              <a:cxnLst/>
              <a:rect l="l" t="t" r="r" b="b"/>
              <a:pathLst>
                <a:path w="5130" h="5936" extrusionOk="0">
                  <a:moveTo>
                    <a:pt x="1563" y="0"/>
                  </a:moveTo>
                  <a:lnTo>
                    <a:pt x="1392" y="25"/>
                  </a:lnTo>
                  <a:lnTo>
                    <a:pt x="1221" y="74"/>
                  </a:lnTo>
                  <a:lnTo>
                    <a:pt x="1075" y="147"/>
                  </a:lnTo>
                  <a:lnTo>
                    <a:pt x="904" y="220"/>
                  </a:lnTo>
                  <a:lnTo>
                    <a:pt x="757" y="318"/>
                  </a:lnTo>
                  <a:lnTo>
                    <a:pt x="635" y="416"/>
                  </a:lnTo>
                  <a:lnTo>
                    <a:pt x="513" y="538"/>
                  </a:lnTo>
                  <a:lnTo>
                    <a:pt x="391" y="660"/>
                  </a:lnTo>
                  <a:lnTo>
                    <a:pt x="293" y="806"/>
                  </a:lnTo>
                  <a:lnTo>
                    <a:pt x="196" y="953"/>
                  </a:lnTo>
                  <a:lnTo>
                    <a:pt x="122" y="1099"/>
                  </a:lnTo>
                  <a:lnTo>
                    <a:pt x="74" y="1270"/>
                  </a:lnTo>
                  <a:lnTo>
                    <a:pt x="25" y="1466"/>
                  </a:lnTo>
                  <a:lnTo>
                    <a:pt x="0" y="1637"/>
                  </a:lnTo>
                  <a:lnTo>
                    <a:pt x="0" y="1808"/>
                  </a:lnTo>
                  <a:lnTo>
                    <a:pt x="0" y="2003"/>
                  </a:lnTo>
                  <a:lnTo>
                    <a:pt x="25" y="2174"/>
                  </a:lnTo>
                  <a:lnTo>
                    <a:pt x="74" y="2345"/>
                  </a:lnTo>
                  <a:lnTo>
                    <a:pt x="147" y="2492"/>
                  </a:lnTo>
                  <a:lnTo>
                    <a:pt x="220" y="2663"/>
                  </a:lnTo>
                  <a:lnTo>
                    <a:pt x="318" y="2785"/>
                  </a:lnTo>
                  <a:lnTo>
                    <a:pt x="415" y="2931"/>
                  </a:lnTo>
                  <a:lnTo>
                    <a:pt x="538" y="3053"/>
                  </a:lnTo>
                  <a:lnTo>
                    <a:pt x="660" y="3175"/>
                  </a:lnTo>
                  <a:lnTo>
                    <a:pt x="806" y="3273"/>
                  </a:lnTo>
                  <a:lnTo>
                    <a:pt x="953" y="3371"/>
                  </a:lnTo>
                  <a:lnTo>
                    <a:pt x="1099" y="3444"/>
                  </a:lnTo>
                  <a:lnTo>
                    <a:pt x="1270" y="3493"/>
                  </a:lnTo>
                  <a:lnTo>
                    <a:pt x="1466" y="3542"/>
                  </a:lnTo>
                  <a:lnTo>
                    <a:pt x="1710" y="3566"/>
                  </a:lnTo>
                  <a:lnTo>
                    <a:pt x="1979" y="3566"/>
                  </a:lnTo>
                  <a:lnTo>
                    <a:pt x="2223" y="3517"/>
                  </a:lnTo>
                  <a:lnTo>
                    <a:pt x="2467" y="3444"/>
                  </a:lnTo>
                  <a:lnTo>
                    <a:pt x="4396" y="5935"/>
                  </a:lnTo>
                  <a:lnTo>
                    <a:pt x="4738" y="5642"/>
                  </a:lnTo>
                  <a:lnTo>
                    <a:pt x="5129" y="5374"/>
                  </a:lnTo>
                  <a:lnTo>
                    <a:pt x="3200" y="2858"/>
                  </a:lnTo>
                  <a:lnTo>
                    <a:pt x="3322" y="2687"/>
                  </a:lnTo>
                  <a:lnTo>
                    <a:pt x="3419" y="2516"/>
                  </a:lnTo>
                  <a:lnTo>
                    <a:pt x="3493" y="2321"/>
                  </a:lnTo>
                  <a:lnTo>
                    <a:pt x="3542" y="2101"/>
                  </a:lnTo>
                  <a:lnTo>
                    <a:pt x="3566" y="1930"/>
                  </a:lnTo>
                  <a:lnTo>
                    <a:pt x="3566" y="1734"/>
                  </a:lnTo>
                  <a:lnTo>
                    <a:pt x="3566" y="1564"/>
                  </a:lnTo>
                  <a:lnTo>
                    <a:pt x="3517" y="1393"/>
                  </a:lnTo>
                  <a:lnTo>
                    <a:pt x="3468" y="1222"/>
                  </a:lnTo>
                  <a:lnTo>
                    <a:pt x="3419" y="1075"/>
                  </a:lnTo>
                  <a:lnTo>
                    <a:pt x="3346" y="904"/>
                  </a:lnTo>
                  <a:lnTo>
                    <a:pt x="3249" y="758"/>
                  </a:lnTo>
                  <a:lnTo>
                    <a:pt x="3151" y="635"/>
                  </a:lnTo>
                  <a:lnTo>
                    <a:pt x="3029" y="513"/>
                  </a:lnTo>
                  <a:lnTo>
                    <a:pt x="2907" y="391"/>
                  </a:lnTo>
                  <a:lnTo>
                    <a:pt x="2760" y="294"/>
                  </a:lnTo>
                  <a:lnTo>
                    <a:pt x="2614" y="196"/>
                  </a:lnTo>
                  <a:lnTo>
                    <a:pt x="2443" y="123"/>
                  </a:lnTo>
                  <a:lnTo>
                    <a:pt x="2272" y="74"/>
                  </a:lnTo>
                  <a:lnTo>
                    <a:pt x="2101" y="25"/>
                  </a:lnTo>
                  <a:lnTo>
                    <a:pt x="19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chemeClr val="dk1"/>
                </a:solidFill>
              </a:endParaRPr>
            </a:p>
          </p:txBody>
        </p:sp>
        <p:sp>
          <p:nvSpPr>
            <p:cNvPr id="588" name="Google Shape;588;p43"/>
            <p:cNvSpPr/>
            <p:nvPr/>
          </p:nvSpPr>
          <p:spPr>
            <a:xfrm>
              <a:off x="5241175" y="5241175"/>
              <a:ext cx="180125" cy="109325"/>
            </a:xfrm>
            <a:custGeom>
              <a:avLst/>
              <a:gdLst/>
              <a:ahLst/>
              <a:cxnLst/>
              <a:rect l="l" t="t" r="r" b="b"/>
              <a:pathLst>
                <a:path w="7205" h="4373" extrusionOk="0">
                  <a:moveTo>
                    <a:pt x="6839" y="1"/>
                  </a:moveTo>
                  <a:lnTo>
                    <a:pt x="3224" y="1491"/>
                  </a:lnTo>
                  <a:lnTo>
                    <a:pt x="3102" y="1368"/>
                  </a:lnTo>
                  <a:lnTo>
                    <a:pt x="2980" y="1246"/>
                  </a:lnTo>
                  <a:lnTo>
                    <a:pt x="2858" y="1124"/>
                  </a:lnTo>
                  <a:lnTo>
                    <a:pt x="2687" y="1026"/>
                  </a:lnTo>
                  <a:lnTo>
                    <a:pt x="2540" y="953"/>
                  </a:lnTo>
                  <a:lnTo>
                    <a:pt x="2369" y="880"/>
                  </a:lnTo>
                  <a:lnTo>
                    <a:pt x="2198" y="831"/>
                  </a:lnTo>
                  <a:lnTo>
                    <a:pt x="2027" y="807"/>
                  </a:lnTo>
                  <a:lnTo>
                    <a:pt x="1856" y="782"/>
                  </a:lnTo>
                  <a:lnTo>
                    <a:pt x="1685" y="807"/>
                  </a:lnTo>
                  <a:lnTo>
                    <a:pt x="1514" y="807"/>
                  </a:lnTo>
                  <a:lnTo>
                    <a:pt x="1343" y="856"/>
                  </a:lnTo>
                  <a:lnTo>
                    <a:pt x="1172" y="904"/>
                  </a:lnTo>
                  <a:lnTo>
                    <a:pt x="1026" y="978"/>
                  </a:lnTo>
                  <a:lnTo>
                    <a:pt x="879" y="1051"/>
                  </a:lnTo>
                  <a:lnTo>
                    <a:pt x="733" y="1149"/>
                  </a:lnTo>
                  <a:lnTo>
                    <a:pt x="586" y="1271"/>
                  </a:lnTo>
                  <a:lnTo>
                    <a:pt x="464" y="1393"/>
                  </a:lnTo>
                  <a:lnTo>
                    <a:pt x="342" y="1515"/>
                  </a:lnTo>
                  <a:lnTo>
                    <a:pt x="244" y="1686"/>
                  </a:lnTo>
                  <a:lnTo>
                    <a:pt x="171" y="1832"/>
                  </a:lnTo>
                  <a:lnTo>
                    <a:pt x="98" y="2003"/>
                  </a:lnTo>
                  <a:lnTo>
                    <a:pt x="49" y="2174"/>
                  </a:lnTo>
                  <a:lnTo>
                    <a:pt x="25" y="2345"/>
                  </a:lnTo>
                  <a:lnTo>
                    <a:pt x="0" y="2516"/>
                  </a:lnTo>
                  <a:lnTo>
                    <a:pt x="0" y="2687"/>
                  </a:lnTo>
                  <a:lnTo>
                    <a:pt x="25" y="2858"/>
                  </a:lnTo>
                  <a:lnTo>
                    <a:pt x="73" y="3029"/>
                  </a:lnTo>
                  <a:lnTo>
                    <a:pt x="122" y="3200"/>
                  </a:lnTo>
                  <a:lnTo>
                    <a:pt x="195" y="3347"/>
                  </a:lnTo>
                  <a:lnTo>
                    <a:pt x="269" y="3518"/>
                  </a:lnTo>
                  <a:lnTo>
                    <a:pt x="366" y="3640"/>
                  </a:lnTo>
                  <a:lnTo>
                    <a:pt x="464" y="3786"/>
                  </a:lnTo>
                  <a:lnTo>
                    <a:pt x="611" y="3908"/>
                  </a:lnTo>
                  <a:lnTo>
                    <a:pt x="733" y="4031"/>
                  </a:lnTo>
                  <a:lnTo>
                    <a:pt x="904" y="4128"/>
                  </a:lnTo>
                  <a:lnTo>
                    <a:pt x="1050" y="4201"/>
                  </a:lnTo>
                  <a:lnTo>
                    <a:pt x="1221" y="4275"/>
                  </a:lnTo>
                  <a:lnTo>
                    <a:pt x="1392" y="4324"/>
                  </a:lnTo>
                  <a:lnTo>
                    <a:pt x="1563" y="4348"/>
                  </a:lnTo>
                  <a:lnTo>
                    <a:pt x="1734" y="4372"/>
                  </a:lnTo>
                  <a:lnTo>
                    <a:pt x="1905" y="4372"/>
                  </a:lnTo>
                  <a:lnTo>
                    <a:pt x="2076" y="4348"/>
                  </a:lnTo>
                  <a:lnTo>
                    <a:pt x="2247" y="4299"/>
                  </a:lnTo>
                  <a:lnTo>
                    <a:pt x="2418" y="4250"/>
                  </a:lnTo>
                  <a:lnTo>
                    <a:pt x="2565" y="4201"/>
                  </a:lnTo>
                  <a:lnTo>
                    <a:pt x="2711" y="4104"/>
                  </a:lnTo>
                  <a:lnTo>
                    <a:pt x="2858" y="4006"/>
                  </a:lnTo>
                  <a:lnTo>
                    <a:pt x="3004" y="3908"/>
                  </a:lnTo>
                  <a:lnTo>
                    <a:pt x="3126" y="3786"/>
                  </a:lnTo>
                  <a:lnTo>
                    <a:pt x="3248" y="3640"/>
                  </a:lnTo>
                  <a:lnTo>
                    <a:pt x="3346" y="3493"/>
                  </a:lnTo>
                  <a:lnTo>
                    <a:pt x="3468" y="3200"/>
                  </a:lnTo>
                  <a:lnTo>
                    <a:pt x="3541" y="2931"/>
                  </a:lnTo>
                  <a:lnTo>
                    <a:pt x="3590" y="2638"/>
                  </a:lnTo>
                  <a:lnTo>
                    <a:pt x="3566" y="2345"/>
                  </a:lnTo>
                  <a:lnTo>
                    <a:pt x="7205" y="856"/>
                  </a:lnTo>
                  <a:lnTo>
                    <a:pt x="6985" y="440"/>
                  </a:lnTo>
                  <a:lnTo>
                    <a:pt x="683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chemeClr val="dk1"/>
                </a:solidFill>
              </a:endParaRPr>
            </a:p>
          </p:txBody>
        </p:sp>
        <p:sp>
          <p:nvSpPr>
            <p:cNvPr id="589" name="Google Shape;589;p43"/>
            <p:cNvSpPr/>
            <p:nvPr/>
          </p:nvSpPr>
          <p:spPr>
            <a:xfrm>
              <a:off x="5461575" y="5316900"/>
              <a:ext cx="89175" cy="159975"/>
            </a:xfrm>
            <a:custGeom>
              <a:avLst/>
              <a:gdLst/>
              <a:ahLst/>
              <a:cxnLst/>
              <a:rect l="l" t="t" r="r" b="b"/>
              <a:pathLst>
                <a:path w="3567" h="6399" extrusionOk="0">
                  <a:moveTo>
                    <a:pt x="1491" y="0"/>
                  </a:moveTo>
                  <a:lnTo>
                    <a:pt x="1393" y="2858"/>
                  </a:lnTo>
                  <a:lnTo>
                    <a:pt x="1198" y="2907"/>
                  </a:lnTo>
                  <a:lnTo>
                    <a:pt x="1002" y="3004"/>
                  </a:lnTo>
                  <a:lnTo>
                    <a:pt x="807" y="3102"/>
                  </a:lnTo>
                  <a:lnTo>
                    <a:pt x="636" y="3224"/>
                  </a:lnTo>
                  <a:lnTo>
                    <a:pt x="489" y="3346"/>
                  </a:lnTo>
                  <a:lnTo>
                    <a:pt x="392" y="3493"/>
                  </a:lnTo>
                  <a:lnTo>
                    <a:pt x="269" y="3639"/>
                  </a:lnTo>
                  <a:lnTo>
                    <a:pt x="196" y="3786"/>
                  </a:lnTo>
                  <a:lnTo>
                    <a:pt x="123" y="3932"/>
                  </a:lnTo>
                  <a:lnTo>
                    <a:pt x="74" y="4103"/>
                  </a:lnTo>
                  <a:lnTo>
                    <a:pt x="25" y="4274"/>
                  </a:lnTo>
                  <a:lnTo>
                    <a:pt x="1" y="4445"/>
                  </a:lnTo>
                  <a:lnTo>
                    <a:pt x="1" y="4616"/>
                  </a:lnTo>
                  <a:lnTo>
                    <a:pt x="1" y="4787"/>
                  </a:lnTo>
                  <a:lnTo>
                    <a:pt x="25" y="4958"/>
                  </a:lnTo>
                  <a:lnTo>
                    <a:pt x="74" y="5129"/>
                  </a:lnTo>
                  <a:lnTo>
                    <a:pt x="123" y="5276"/>
                  </a:lnTo>
                  <a:lnTo>
                    <a:pt x="196" y="5447"/>
                  </a:lnTo>
                  <a:lnTo>
                    <a:pt x="294" y="5593"/>
                  </a:lnTo>
                  <a:lnTo>
                    <a:pt x="416" y="5740"/>
                  </a:lnTo>
                  <a:lnTo>
                    <a:pt x="538" y="5886"/>
                  </a:lnTo>
                  <a:lnTo>
                    <a:pt x="660" y="6008"/>
                  </a:lnTo>
                  <a:lnTo>
                    <a:pt x="807" y="6106"/>
                  </a:lnTo>
                  <a:lnTo>
                    <a:pt x="953" y="6179"/>
                  </a:lnTo>
                  <a:lnTo>
                    <a:pt x="1124" y="6252"/>
                  </a:lnTo>
                  <a:lnTo>
                    <a:pt x="1271" y="6326"/>
                  </a:lnTo>
                  <a:lnTo>
                    <a:pt x="1442" y="6350"/>
                  </a:lnTo>
                  <a:lnTo>
                    <a:pt x="1613" y="6375"/>
                  </a:lnTo>
                  <a:lnTo>
                    <a:pt x="1784" y="6399"/>
                  </a:lnTo>
                  <a:lnTo>
                    <a:pt x="1955" y="6375"/>
                  </a:lnTo>
                  <a:lnTo>
                    <a:pt x="2126" y="6350"/>
                  </a:lnTo>
                  <a:lnTo>
                    <a:pt x="2297" y="6301"/>
                  </a:lnTo>
                  <a:lnTo>
                    <a:pt x="2468" y="6252"/>
                  </a:lnTo>
                  <a:lnTo>
                    <a:pt x="2614" y="6179"/>
                  </a:lnTo>
                  <a:lnTo>
                    <a:pt x="2785" y="6082"/>
                  </a:lnTo>
                  <a:lnTo>
                    <a:pt x="2932" y="5984"/>
                  </a:lnTo>
                  <a:lnTo>
                    <a:pt x="3054" y="5862"/>
                  </a:lnTo>
                  <a:lnTo>
                    <a:pt x="3176" y="5715"/>
                  </a:lnTo>
                  <a:lnTo>
                    <a:pt x="3273" y="5569"/>
                  </a:lnTo>
                  <a:lnTo>
                    <a:pt x="3371" y="5422"/>
                  </a:lnTo>
                  <a:lnTo>
                    <a:pt x="3444" y="5276"/>
                  </a:lnTo>
                  <a:lnTo>
                    <a:pt x="3493" y="5105"/>
                  </a:lnTo>
                  <a:lnTo>
                    <a:pt x="3542" y="4934"/>
                  </a:lnTo>
                  <a:lnTo>
                    <a:pt x="3567" y="4763"/>
                  </a:lnTo>
                  <a:lnTo>
                    <a:pt x="3567" y="4592"/>
                  </a:lnTo>
                  <a:lnTo>
                    <a:pt x="3567" y="4421"/>
                  </a:lnTo>
                  <a:lnTo>
                    <a:pt x="3542" y="4250"/>
                  </a:lnTo>
                  <a:lnTo>
                    <a:pt x="3493" y="4079"/>
                  </a:lnTo>
                  <a:lnTo>
                    <a:pt x="3420" y="3908"/>
                  </a:lnTo>
                  <a:lnTo>
                    <a:pt x="3347" y="3761"/>
                  </a:lnTo>
                  <a:lnTo>
                    <a:pt x="3273" y="3615"/>
                  </a:lnTo>
                  <a:lnTo>
                    <a:pt x="3151" y="3468"/>
                  </a:lnTo>
                  <a:lnTo>
                    <a:pt x="2980" y="3273"/>
                  </a:lnTo>
                  <a:lnTo>
                    <a:pt x="2761" y="3102"/>
                  </a:lnTo>
                  <a:lnTo>
                    <a:pt x="2541" y="2980"/>
                  </a:lnTo>
                  <a:lnTo>
                    <a:pt x="2321" y="2907"/>
                  </a:lnTo>
                  <a:lnTo>
                    <a:pt x="2419" y="25"/>
                  </a:lnTo>
                  <a:lnTo>
                    <a:pt x="2419" y="25"/>
                  </a:lnTo>
                  <a:lnTo>
                    <a:pt x="2126" y="49"/>
                  </a:lnTo>
                  <a:lnTo>
                    <a:pt x="1808" y="25"/>
                  </a:lnTo>
                  <a:lnTo>
                    <a:pt x="149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chemeClr val="dk1"/>
                </a:solidFill>
              </a:endParaRPr>
            </a:p>
          </p:txBody>
        </p:sp>
        <p:sp>
          <p:nvSpPr>
            <p:cNvPr id="590" name="Google Shape;590;p43"/>
            <p:cNvSpPr/>
            <p:nvPr/>
          </p:nvSpPr>
          <p:spPr>
            <a:xfrm>
              <a:off x="5619100" y="5194175"/>
              <a:ext cx="161850" cy="89775"/>
            </a:xfrm>
            <a:custGeom>
              <a:avLst/>
              <a:gdLst/>
              <a:ahLst/>
              <a:cxnLst/>
              <a:rect l="l" t="t" r="r" b="b"/>
              <a:pathLst>
                <a:path w="6474" h="3591" extrusionOk="0">
                  <a:moveTo>
                    <a:pt x="4592" y="0"/>
                  </a:moveTo>
                  <a:lnTo>
                    <a:pt x="4422" y="25"/>
                  </a:lnTo>
                  <a:lnTo>
                    <a:pt x="4251" y="73"/>
                  </a:lnTo>
                  <a:lnTo>
                    <a:pt x="4080" y="122"/>
                  </a:lnTo>
                  <a:lnTo>
                    <a:pt x="3884" y="196"/>
                  </a:lnTo>
                  <a:lnTo>
                    <a:pt x="3713" y="293"/>
                  </a:lnTo>
                  <a:lnTo>
                    <a:pt x="3567" y="391"/>
                  </a:lnTo>
                  <a:lnTo>
                    <a:pt x="3420" y="513"/>
                  </a:lnTo>
                  <a:lnTo>
                    <a:pt x="3298" y="660"/>
                  </a:lnTo>
                  <a:lnTo>
                    <a:pt x="3200" y="806"/>
                  </a:lnTo>
                  <a:lnTo>
                    <a:pt x="3103" y="953"/>
                  </a:lnTo>
                  <a:lnTo>
                    <a:pt x="3029" y="1124"/>
                  </a:lnTo>
                  <a:lnTo>
                    <a:pt x="99" y="757"/>
                  </a:lnTo>
                  <a:lnTo>
                    <a:pt x="74" y="1221"/>
                  </a:lnTo>
                  <a:lnTo>
                    <a:pt x="1" y="1661"/>
                  </a:lnTo>
                  <a:lnTo>
                    <a:pt x="2907" y="2027"/>
                  </a:lnTo>
                  <a:lnTo>
                    <a:pt x="2932" y="2223"/>
                  </a:lnTo>
                  <a:lnTo>
                    <a:pt x="3005" y="2418"/>
                  </a:lnTo>
                  <a:lnTo>
                    <a:pt x="3078" y="2565"/>
                  </a:lnTo>
                  <a:lnTo>
                    <a:pt x="3152" y="2736"/>
                  </a:lnTo>
                  <a:lnTo>
                    <a:pt x="3249" y="2882"/>
                  </a:lnTo>
                  <a:lnTo>
                    <a:pt x="3371" y="3004"/>
                  </a:lnTo>
                  <a:lnTo>
                    <a:pt x="3493" y="3126"/>
                  </a:lnTo>
                  <a:lnTo>
                    <a:pt x="3616" y="3248"/>
                  </a:lnTo>
                  <a:lnTo>
                    <a:pt x="3762" y="3346"/>
                  </a:lnTo>
                  <a:lnTo>
                    <a:pt x="3909" y="3419"/>
                  </a:lnTo>
                  <a:lnTo>
                    <a:pt x="4080" y="3493"/>
                  </a:lnTo>
                  <a:lnTo>
                    <a:pt x="4251" y="3541"/>
                  </a:lnTo>
                  <a:lnTo>
                    <a:pt x="4422" y="3566"/>
                  </a:lnTo>
                  <a:lnTo>
                    <a:pt x="4592" y="3590"/>
                  </a:lnTo>
                  <a:lnTo>
                    <a:pt x="4763" y="3590"/>
                  </a:lnTo>
                  <a:lnTo>
                    <a:pt x="4934" y="3566"/>
                  </a:lnTo>
                  <a:lnTo>
                    <a:pt x="5105" y="3541"/>
                  </a:lnTo>
                  <a:lnTo>
                    <a:pt x="5276" y="3468"/>
                  </a:lnTo>
                  <a:lnTo>
                    <a:pt x="5447" y="3419"/>
                  </a:lnTo>
                  <a:lnTo>
                    <a:pt x="5618" y="3322"/>
                  </a:lnTo>
                  <a:lnTo>
                    <a:pt x="5765" y="3224"/>
                  </a:lnTo>
                  <a:lnTo>
                    <a:pt x="5887" y="3102"/>
                  </a:lnTo>
                  <a:lnTo>
                    <a:pt x="6009" y="2980"/>
                  </a:lnTo>
                  <a:lnTo>
                    <a:pt x="6131" y="2858"/>
                  </a:lnTo>
                  <a:lnTo>
                    <a:pt x="6204" y="2711"/>
                  </a:lnTo>
                  <a:lnTo>
                    <a:pt x="6302" y="2565"/>
                  </a:lnTo>
                  <a:lnTo>
                    <a:pt x="6351" y="2394"/>
                  </a:lnTo>
                  <a:lnTo>
                    <a:pt x="6400" y="2223"/>
                  </a:lnTo>
                  <a:lnTo>
                    <a:pt x="6449" y="2076"/>
                  </a:lnTo>
                  <a:lnTo>
                    <a:pt x="6473" y="1881"/>
                  </a:lnTo>
                  <a:lnTo>
                    <a:pt x="6473" y="1710"/>
                  </a:lnTo>
                  <a:lnTo>
                    <a:pt x="6449" y="1539"/>
                  </a:lnTo>
                  <a:lnTo>
                    <a:pt x="6424" y="1368"/>
                  </a:lnTo>
                  <a:lnTo>
                    <a:pt x="6351" y="1197"/>
                  </a:lnTo>
                  <a:lnTo>
                    <a:pt x="6278" y="1026"/>
                  </a:lnTo>
                  <a:lnTo>
                    <a:pt x="6204" y="855"/>
                  </a:lnTo>
                  <a:lnTo>
                    <a:pt x="6107" y="708"/>
                  </a:lnTo>
                  <a:lnTo>
                    <a:pt x="5985" y="586"/>
                  </a:lnTo>
                  <a:lnTo>
                    <a:pt x="5862" y="464"/>
                  </a:lnTo>
                  <a:lnTo>
                    <a:pt x="5740" y="342"/>
                  </a:lnTo>
                  <a:lnTo>
                    <a:pt x="5594" y="269"/>
                  </a:lnTo>
                  <a:lnTo>
                    <a:pt x="5447" y="171"/>
                  </a:lnTo>
                  <a:lnTo>
                    <a:pt x="5276" y="122"/>
                  </a:lnTo>
                  <a:lnTo>
                    <a:pt x="5105" y="73"/>
                  </a:lnTo>
                  <a:lnTo>
                    <a:pt x="4934" y="25"/>
                  </a:lnTo>
                  <a:lnTo>
                    <a:pt x="4763" y="25"/>
                  </a:lnTo>
                  <a:lnTo>
                    <a:pt x="45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chemeClr val="dk1"/>
                </a:solidFill>
              </a:endParaRPr>
            </a:p>
          </p:txBody>
        </p:sp>
        <p:sp>
          <p:nvSpPr>
            <p:cNvPr id="591" name="Google Shape;591;p43"/>
            <p:cNvSpPr/>
            <p:nvPr/>
          </p:nvSpPr>
          <p:spPr>
            <a:xfrm>
              <a:off x="5420075" y="5116000"/>
              <a:ext cx="189300" cy="189925"/>
            </a:xfrm>
            <a:custGeom>
              <a:avLst/>
              <a:gdLst/>
              <a:ahLst/>
              <a:cxnLst/>
              <a:rect l="l" t="t" r="r" b="b"/>
              <a:pathLst>
                <a:path w="7572" h="7597" extrusionOk="0">
                  <a:moveTo>
                    <a:pt x="3786" y="1"/>
                  </a:moveTo>
                  <a:lnTo>
                    <a:pt x="3395" y="25"/>
                  </a:lnTo>
                  <a:lnTo>
                    <a:pt x="3028" y="74"/>
                  </a:lnTo>
                  <a:lnTo>
                    <a:pt x="2662" y="172"/>
                  </a:lnTo>
                  <a:lnTo>
                    <a:pt x="2320" y="294"/>
                  </a:lnTo>
                  <a:lnTo>
                    <a:pt x="1978" y="465"/>
                  </a:lnTo>
                  <a:lnTo>
                    <a:pt x="1661" y="660"/>
                  </a:lnTo>
                  <a:lnTo>
                    <a:pt x="1392" y="880"/>
                  </a:lnTo>
                  <a:lnTo>
                    <a:pt x="1123" y="1124"/>
                  </a:lnTo>
                  <a:lnTo>
                    <a:pt x="879" y="1393"/>
                  </a:lnTo>
                  <a:lnTo>
                    <a:pt x="659" y="1686"/>
                  </a:lnTo>
                  <a:lnTo>
                    <a:pt x="464" y="1979"/>
                  </a:lnTo>
                  <a:lnTo>
                    <a:pt x="293" y="2321"/>
                  </a:lnTo>
                  <a:lnTo>
                    <a:pt x="171" y="2663"/>
                  </a:lnTo>
                  <a:lnTo>
                    <a:pt x="73" y="3029"/>
                  </a:lnTo>
                  <a:lnTo>
                    <a:pt x="24" y="3420"/>
                  </a:lnTo>
                  <a:lnTo>
                    <a:pt x="0" y="3787"/>
                  </a:lnTo>
                  <a:lnTo>
                    <a:pt x="24" y="4177"/>
                  </a:lnTo>
                  <a:lnTo>
                    <a:pt x="73" y="4568"/>
                  </a:lnTo>
                  <a:lnTo>
                    <a:pt x="171" y="4934"/>
                  </a:lnTo>
                  <a:lnTo>
                    <a:pt x="293" y="5276"/>
                  </a:lnTo>
                  <a:lnTo>
                    <a:pt x="464" y="5594"/>
                  </a:lnTo>
                  <a:lnTo>
                    <a:pt x="659" y="5911"/>
                  </a:lnTo>
                  <a:lnTo>
                    <a:pt x="879" y="6204"/>
                  </a:lnTo>
                  <a:lnTo>
                    <a:pt x="1123" y="6473"/>
                  </a:lnTo>
                  <a:lnTo>
                    <a:pt x="1392" y="6717"/>
                  </a:lnTo>
                  <a:lnTo>
                    <a:pt x="1661" y="6937"/>
                  </a:lnTo>
                  <a:lnTo>
                    <a:pt x="1978" y="7133"/>
                  </a:lnTo>
                  <a:lnTo>
                    <a:pt x="2320" y="7279"/>
                  </a:lnTo>
                  <a:lnTo>
                    <a:pt x="2662" y="7426"/>
                  </a:lnTo>
                  <a:lnTo>
                    <a:pt x="3028" y="7499"/>
                  </a:lnTo>
                  <a:lnTo>
                    <a:pt x="3395" y="7572"/>
                  </a:lnTo>
                  <a:lnTo>
                    <a:pt x="3786" y="7597"/>
                  </a:lnTo>
                  <a:lnTo>
                    <a:pt x="4176" y="7572"/>
                  </a:lnTo>
                  <a:lnTo>
                    <a:pt x="4567" y="7499"/>
                  </a:lnTo>
                  <a:lnTo>
                    <a:pt x="4909" y="7426"/>
                  </a:lnTo>
                  <a:lnTo>
                    <a:pt x="5275" y="7279"/>
                  </a:lnTo>
                  <a:lnTo>
                    <a:pt x="5593" y="7133"/>
                  </a:lnTo>
                  <a:lnTo>
                    <a:pt x="5910" y="6937"/>
                  </a:lnTo>
                  <a:lnTo>
                    <a:pt x="6203" y="6717"/>
                  </a:lnTo>
                  <a:lnTo>
                    <a:pt x="6472" y="6473"/>
                  </a:lnTo>
                  <a:lnTo>
                    <a:pt x="6716" y="6204"/>
                  </a:lnTo>
                  <a:lnTo>
                    <a:pt x="6936" y="5911"/>
                  </a:lnTo>
                  <a:lnTo>
                    <a:pt x="7132" y="5594"/>
                  </a:lnTo>
                  <a:lnTo>
                    <a:pt x="7278" y="5276"/>
                  </a:lnTo>
                  <a:lnTo>
                    <a:pt x="7425" y="4934"/>
                  </a:lnTo>
                  <a:lnTo>
                    <a:pt x="7498" y="4568"/>
                  </a:lnTo>
                  <a:lnTo>
                    <a:pt x="7571" y="4177"/>
                  </a:lnTo>
                  <a:lnTo>
                    <a:pt x="7571" y="3787"/>
                  </a:lnTo>
                  <a:lnTo>
                    <a:pt x="7571" y="3420"/>
                  </a:lnTo>
                  <a:lnTo>
                    <a:pt x="7498" y="3029"/>
                  </a:lnTo>
                  <a:lnTo>
                    <a:pt x="7425" y="2663"/>
                  </a:lnTo>
                  <a:lnTo>
                    <a:pt x="7278" y="2321"/>
                  </a:lnTo>
                  <a:lnTo>
                    <a:pt x="7132" y="1979"/>
                  </a:lnTo>
                  <a:lnTo>
                    <a:pt x="6936" y="1686"/>
                  </a:lnTo>
                  <a:lnTo>
                    <a:pt x="6716" y="1393"/>
                  </a:lnTo>
                  <a:lnTo>
                    <a:pt x="6472" y="1124"/>
                  </a:lnTo>
                  <a:lnTo>
                    <a:pt x="6203" y="880"/>
                  </a:lnTo>
                  <a:lnTo>
                    <a:pt x="5910" y="660"/>
                  </a:lnTo>
                  <a:lnTo>
                    <a:pt x="5593" y="465"/>
                  </a:lnTo>
                  <a:lnTo>
                    <a:pt x="5275" y="294"/>
                  </a:lnTo>
                  <a:lnTo>
                    <a:pt x="4909" y="172"/>
                  </a:lnTo>
                  <a:lnTo>
                    <a:pt x="4567" y="74"/>
                  </a:lnTo>
                  <a:lnTo>
                    <a:pt x="4176" y="25"/>
                  </a:lnTo>
                  <a:lnTo>
                    <a:pt x="378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chemeClr val="dk1"/>
                </a:solidFill>
              </a:endParaRPr>
            </a:p>
          </p:txBody>
        </p:sp>
      </p:grpSp>
      <p:grpSp>
        <p:nvGrpSpPr>
          <p:cNvPr id="592" name="Google Shape;592;p43"/>
          <p:cNvGrpSpPr/>
          <p:nvPr/>
        </p:nvGrpSpPr>
        <p:grpSpPr>
          <a:xfrm>
            <a:off x="357376" y="266864"/>
            <a:ext cx="287249" cy="468272"/>
            <a:chOff x="6730350" y="2315900"/>
            <a:chExt cx="257700" cy="420100"/>
          </a:xfrm>
        </p:grpSpPr>
        <p:sp>
          <p:nvSpPr>
            <p:cNvPr id="593" name="Google Shape;593;p43"/>
            <p:cNvSpPr/>
            <p:nvPr/>
          </p:nvSpPr>
          <p:spPr>
            <a:xfrm>
              <a:off x="6807900" y="2671250"/>
              <a:ext cx="102600" cy="22625"/>
            </a:xfrm>
            <a:custGeom>
              <a:avLst/>
              <a:gdLst/>
              <a:ahLst/>
              <a:cxnLst/>
              <a:rect l="l" t="t" r="r" b="b"/>
              <a:pathLst>
                <a:path w="4104" h="905" extrusionOk="0">
                  <a:moveTo>
                    <a:pt x="1" y="1"/>
                  </a:moveTo>
                  <a:lnTo>
                    <a:pt x="1" y="905"/>
                  </a:lnTo>
                  <a:lnTo>
                    <a:pt x="4104" y="905"/>
                  </a:lnTo>
                  <a:lnTo>
                    <a:pt x="4104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chemeClr val="dk1"/>
                </a:solidFill>
              </a:endParaRPr>
            </a:p>
          </p:txBody>
        </p:sp>
        <p:sp>
          <p:nvSpPr>
            <p:cNvPr id="594" name="Google Shape;594;p43"/>
            <p:cNvSpPr/>
            <p:nvPr/>
          </p:nvSpPr>
          <p:spPr>
            <a:xfrm>
              <a:off x="6807900" y="2636450"/>
              <a:ext cx="102600" cy="22625"/>
            </a:xfrm>
            <a:custGeom>
              <a:avLst/>
              <a:gdLst/>
              <a:ahLst/>
              <a:cxnLst/>
              <a:rect l="l" t="t" r="r" b="b"/>
              <a:pathLst>
                <a:path w="4104" h="905" extrusionOk="0">
                  <a:moveTo>
                    <a:pt x="1" y="1"/>
                  </a:moveTo>
                  <a:lnTo>
                    <a:pt x="1" y="905"/>
                  </a:lnTo>
                  <a:lnTo>
                    <a:pt x="4104" y="905"/>
                  </a:lnTo>
                  <a:lnTo>
                    <a:pt x="4104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chemeClr val="dk1"/>
                </a:solidFill>
              </a:endParaRPr>
            </a:p>
          </p:txBody>
        </p:sp>
        <p:sp>
          <p:nvSpPr>
            <p:cNvPr id="595" name="Google Shape;595;p43"/>
            <p:cNvSpPr/>
            <p:nvPr/>
          </p:nvSpPr>
          <p:spPr>
            <a:xfrm>
              <a:off x="6807900" y="2706075"/>
              <a:ext cx="102600" cy="29925"/>
            </a:xfrm>
            <a:custGeom>
              <a:avLst/>
              <a:gdLst/>
              <a:ahLst/>
              <a:cxnLst/>
              <a:rect l="l" t="t" r="r" b="b"/>
              <a:pathLst>
                <a:path w="4104" h="1197" extrusionOk="0">
                  <a:moveTo>
                    <a:pt x="1" y="0"/>
                  </a:moveTo>
                  <a:lnTo>
                    <a:pt x="1" y="171"/>
                  </a:lnTo>
                  <a:lnTo>
                    <a:pt x="25" y="318"/>
                  </a:lnTo>
                  <a:lnTo>
                    <a:pt x="98" y="464"/>
                  </a:lnTo>
                  <a:lnTo>
                    <a:pt x="196" y="586"/>
                  </a:lnTo>
                  <a:lnTo>
                    <a:pt x="343" y="660"/>
                  </a:lnTo>
                  <a:lnTo>
                    <a:pt x="1881" y="1172"/>
                  </a:lnTo>
                  <a:lnTo>
                    <a:pt x="2052" y="1197"/>
                  </a:lnTo>
                  <a:lnTo>
                    <a:pt x="2223" y="1172"/>
                  </a:lnTo>
                  <a:lnTo>
                    <a:pt x="3762" y="660"/>
                  </a:lnTo>
                  <a:lnTo>
                    <a:pt x="3908" y="586"/>
                  </a:lnTo>
                  <a:lnTo>
                    <a:pt x="4006" y="464"/>
                  </a:lnTo>
                  <a:lnTo>
                    <a:pt x="4079" y="318"/>
                  </a:lnTo>
                  <a:lnTo>
                    <a:pt x="4104" y="171"/>
                  </a:lnTo>
                  <a:lnTo>
                    <a:pt x="4104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chemeClr val="dk1"/>
                </a:solidFill>
              </a:endParaRPr>
            </a:p>
          </p:txBody>
        </p:sp>
        <p:sp>
          <p:nvSpPr>
            <p:cNvPr id="596" name="Google Shape;596;p43"/>
            <p:cNvSpPr/>
            <p:nvPr/>
          </p:nvSpPr>
          <p:spPr>
            <a:xfrm>
              <a:off x="6811575" y="2463675"/>
              <a:ext cx="95275" cy="160600"/>
            </a:xfrm>
            <a:custGeom>
              <a:avLst/>
              <a:gdLst/>
              <a:ahLst/>
              <a:cxnLst/>
              <a:rect l="l" t="t" r="r" b="b"/>
              <a:pathLst>
                <a:path w="3811" h="6424" extrusionOk="0">
                  <a:moveTo>
                    <a:pt x="1905" y="0"/>
                  </a:moveTo>
                  <a:lnTo>
                    <a:pt x="928" y="831"/>
                  </a:lnTo>
                  <a:lnTo>
                    <a:pt x="855" y="879"/>
                  </a:lnTo>
                  <a:lnTo>
                    <a:pt x="782" y="904"/>
                  </a:lnTo>
                  <a:lnTo>
                    <a:pt x="684" y="879"/>
                  </a:lnTo>
                  <a:lnTo>
                    <a:pt x="611" y="831"/>
                  </a:lnTo>
                  <a:lnTo>
                    <a:pt x="0" y="318"/>
                  </a:lnTo>
                  <a:lnTo>
                    <a:pt x="1319" y="6423"/>
                  </a:lnTo>
                  <a:lnTo>
                    <a:pt x="2491" y="6423"/>
                  </a:lnTo>
                  <a:lnTo>
                    <a:pt x="3810" y="318"/>
                  </a:lnTo>
                  <a:lnTo>
                    <a:pt x="3200" y="831"/>
                  </a:lnTo>
                  <a:lnTo>
                    <a:pt x="3126" y="879"/>
                  </a:lnTo>
                  <a:lnTo>
                    <a:pt x="3029" y="904"/>
                  </a:lnTo>
                  <a:lnTo>
                    <a:pt x="2955" y="879"/>
                  </a:lnTo>
                  <a:lnTo>
                    <a:pt x="2882" y="831"/>
                  </a:lnTo>
                  <a:lnTo>
                    <a:pt x="1905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chemeClr val="dk1"/>
                </a:solidFill>
              </a:endParaRPr>
            </a:p>
          </p:txBody>
        </p:sp>
        <p:sp>
          <p:nvSpPr>
            <p:cNvPr id="597" name="Google Shape;597;p43"/>
            <p:cNvSpPr/>
            <p:nvPr/>
          </p:nvSpPr>
          <p:spPr>
            <a:xfrm>
              <a:off x="6730350" y="2315900"/>
              <a:ext cx="257700" cy="308375"/>
            </a:xfrm>
            <a:custGeom>
              <a:avLst/>
              <a:gdLst/>
              <a:ahLst/>
              <a:cxnLst/>
              <a:rect l="l" t="t" r="r" b="b"/>
              <a:pathLst>
                <a:path w="10308" h="12335" extrusionOk="0">
                  <a:moveTo>
                    <a:pt x="5154" y="1"/>
                  </a:moveTo>
                  <a:lnTo>
                    <a:pt x="4617" y="25"/>
                  </a:lnTo>
                  <a:lnTo>
                    <a:pt x="4128" y="98"/>
                  </a:lnTo>
                  <a:lnTo>
                    <a:pt x="3615" y="245"/>
                  </a:lnTo>
                  <a:lnTo>
                    <a:pt x="3151" y="416"/>
                  </a:lnTo>
                  <a:lnTo>
                    <a:pt x="2712" y="636"/>
                  </a:lnTo>
                  <a:lnTo>
                    <a:pt x="2272" y="880"/>
                  </a:lnTo>
                  <a:lnTo>
                    <a:pt x="1881" y="1173"/>
                  </a:lnTo>
                  <a:lnTo>
                    <a:pt x="1515" y="1515"/>
                  </a:lnTo>
                  <a:lnTo>
                    <a:pt x="1198" y="1881"/>
                  </a:lnTo>
                  <a:lnTo>
                    <a:pt x="880" y="2272"/>
                  </a:lnTo>
                  <a:lnTo>
                    <a:pt x="636" y="2687"/>
                  </a:lnTo>
                  <a:lnTo>
                    <a:pt x="416" y="3151"/>
                  </a:lnTo>
                  <a:lnTo>
                    <a:pt x="245" y="3615"/>
                  </a:lnTo>
                  <a:lnTo>
                    <a:pt x="123" y="4104"/>
                  </a:lnTo>
                  <a:lnTo>
                    <a:pt x="50" y="4617"/>
                  </a:lnTo>
                  <a:lnTo>
                    <a:pt x="1" y="5154"/>
                  </a:lnTo>
                  <a:lnTo>
                    <a:pt x="25" y="5423"/>
                  </a:lnTo>
                  <a:lnTo>
                    <a:pt x="50" y="5691"/>
                  </a:lnTo>
                  <a:lnTo>
                    <a:pt x="123" y="6204"/>
                  </a:lnTo>
                  <a:lnTo>
                    <a:pt x="245" y="6693"/>
                  </a:lnTo>
                  <a:lnTo>
                    <a:pt x="416" y="7132"/>
                  </a:lnTo>
                  <a:lnTo>
                    <a:pt x="636" y="7572"/>
                  </a:lnTo>
                  <a:lnTo>
                    <a:pt x="856" y="7963"/>
                  </a:lnTo>
                  <a:lnTo>
                    <a:pt x="1100" y="8353"/>
                  </a:lnTo>
                  <a:lnTo>
                    <a:pt x="1369" y="8744"/>
                  </a:lnTo>
                  <a:lnTo>
                    <a:pt x="1906" y="9526"/>
                  </a:lnTo>
                  <a:lnTo>
                    <a:pt x="2150" y="9941"/>
                  </a:lnTo>
                  <a:lnTo>
                    <a:pt x="2394" y="10356"/>
                  </a:lnTo>
                  <a:lnTo>
                    <a:pt x="2614" y="10796"/>
                  </a:lnTo>
                  <a:lnTo>
                    <a:pt x="2810" y="11284"/>
                  </a:lnTo>
                  <a:lnTo>
                    <a:pt x="2980" y="11797"/>
                  </a:lnTo>
                  <a:lnTo>
                    <a:pt x="3103" y="12334"/>
                  </a:lnTo>
                  <a:lnTo>
                    <a:pt x="4079" y="12334"/>
                  </a:lnTo>
                  <a:lnTo>
                    <a:pt x="3249" y="8500"/>
                  </a:lnTo>
                  <a:lnTo>
                    <a:pt x="2663" y="5642"/>
                  </a:lnTo>
                  <a:lnTo>
                    <a:pt x="2663" y="5520"/>
                  </a:lnTo>
                  <a:lnTo>
                    <a:pt x="2712" y="5423"/>
                  </a:lnTo>
                  <a:lnTo>
                    <a:pt x="2785" y="5374"/>
                  </a:lnTo>
                  <a:lnTo>
                    <a:pt x="2883" y="5349"/>
                  </a:lnTo>
                  <a:lnTo>
                    <a:pt x="2956" y="5349"/>
                  </a:lnTo>
                  <a:lnTo>
                    <a:pt x="3054" y="5398"/>
                  </a:lnTo>
                  <a:lnTo>
                    <a:pt x="4031" y="6253"/>
                  </a:lnTo>
                  <a:lnTo>
                    <a:pt x="4983" y="5398"/>
                  </a:lnTo>
                  <a:lnTo>
                    <a:pt x="5081" y="5349"/>
                  </a:lnTo>
                  <a:lnTo>
                    <a:pt x="5227" y="5349"/>
                  </a:lnTo>
                  <a:lnTo>
                    <a:pt x="5325" y="5398"/>
                  </a:lnTo>
                  <a:lnTo>
                    <a:pt x="6278" y="6253"/>
                  </a:lnTo>
                  <a:lnTo>
                    <a:pt x="7254" y="5398"/>
                  </a:lnTo>
                  <a:lnTo>
                    <a:pt x="7352" y="5349"/>
                  </a:lnTo>
                  <a:lnTo>
                    <a:pt x="7425" y="5349"/>
                  </a:lnTo>
                  <a:lnTo>
                    <a:pt x="7523" y="5374"/>
                  </a:lnTo>
                  <a:lnTo>
                    <a:pt x="7596" y="5423"/>
                  </a:lnTo>
                  <a:lnTo>
                    <a:pt x="7645" y="5520"/>
                  </a:lnTo>
                  <a:lnTo>
                    <a:pt x="7645" y="5642"/>
                  </a:lnTo>
                  <a:lnTo>
                    <a:pt x="7059" y="8500"/>
                  </a:lnTo>
                  <a:lnTo>
                    <a:pt x="6229" y="12334"/>
                  </a:lnTo>
                  <a:lnTo>
                    <a:pt x="7206" y="12334"/>
                  </a:lnTo>
                  <a:lnTo>
                    <a:pt x="7328" y="11797"/>
                  </a:lnTo>
                  <a:lnTo>
                    <a:pt x="7499" y="11284"/>
                  </a:lnTo>
                  <a:lnTo>
                    <a:pt x="7694" y="10796"/>
                  </a:lnTo>
                  <a:lnTo>
                    <a:pt x="7914" y="10356"/>
                  </a:lnTo>
                  <a:lnTo>
                    <a:pt x="8158" y="9941"/>
                  </a:lnTo>
                  <a:lnTo>
                    <a:pt x="8402" y="9526"/>
                  </a:lnTo>
                  <a:lnTo>
                    <a:pt x="8940" y="8744"/>
                  </a:lnTo>
                  <a:lnTo>
                    <a:pt x="9208" y="8353"/>
                  </a:lnTo>
                  <a:lnTo>
                    <a:pt x="9453" y="7963"/>
                  </a:lnTo>
                  <a:lnTo>
                    <a:pt x="9672" y="7572"/>
                  </a:lnTo>
                  <a:lnTo>
                    <a:pt x="9892" y="7132"/>
                  </a:lnTo>
                  <a:lnTo>
                    <a:pt x="10063" y="6693"/>
                  </a:lnTo>
                  <a:lnTo>
                    <a:pt x="10185" y="6204"/>
                  </a:lnTo>
                  <a:lnTo>
                    <a:pt x="10259" y="5691"/>
                  </a:lnTo>
                  <a:lnTo>
                    <a:pt x="10283" y="5423"/>
                  </a:lnTo>
                  <a:lnTo>
                    <a:pt x="10307" y="5154"/>
                  </a:lnTo>
                  <a:lnTo>
                    <a:pt x="10259" y="4617"/>
                  </a:lnTo>
                  <a:lnTo>
                    <a:pt x="10185" y="4104"/>
                  </a:lnTo>
                  <a:lnTo>
                    <a:pt x="10063" y="3615"/>
                  </a:lnTo>
                  <a:lnTo>
                    <a:pt x="9892" y="3151"/>
                  </a:lnTo>
                  <a:lnTo>
                    <a:pt x="9672" y="2687"/>
                  </a:lnTo>
                  <a:lnTo>
                    <a:pt x="9428" y="2272"/>
                  </a:lnTo>
                  <a:lnTo>
                    <a:pt x="9111" y="1881"/>
                  </a:lnTo>
                  <a:lnTo>
                    <a:pt x="8793" y="1515"/>
                  </a:lnTo>
                  <a:lnTo>
                    <a:pt x="8427" y="1173"/>
                  </a:lnTo>
                  <a:lnTo>
                    <a:pt x="8036" y="880"/>
                  </a:lnTo>
                  <a:lnTo>
                    <a:pt x="7596" y="636"/>
                  </a:lnTo>
                  <a:lnTo>
                    <a:pt x="7157" y="416"/>
                  </a:lnTo>
                  <a:lnTo>
                    <a:pt x="6693" y="245"/>
                  </a:lnTo>
                  <a:lnTo>
                    <a:pt x="6180" y="98"/>
                  </a:lnTo>
                  <a:lnTo>
                    <a:pt x="5691" y="25"/>
                  </a:lnTo>
                  <a:lnTo>
                    <a:pt x="5154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solidFill>
                  <a:schemeClr val="dk1"/>
                </a:solidFill>
              </a:endParaRPr>
            </a:p>
          </p:txBody>
        </p:sp>
      </p:grp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8812" y="660400"/>
            <a:ext cx="5437187" cy="546100"/>
          </a:xfrm>
        </p:spPr>
        <p:txBody>
          <a:bodyPr>
            <a:normAutofit fontScale="90000"/>
          </a:bodyPr>
          <a:lstStyle/>
          <a:p>
            <a:r>
              <a:rPr lang="ru-RU" dirty="0"/>
              <a:t>Финансовая модель</a:t>
            </a:r>
            <a:endParaRPr lang="en-US" dirty="0"/>
          </a:p>
        </p:txBody>
      </p:sp>
      <p:sp>
        <p:nvSpPr>
          <p:cNvPr id="53" name="TextBox 52"/>
          <p:cNvSpPr txBox="1"/>
          <p:nvPr/>
        </p:nvSpPr>
        <p:spPr>
          <a:xfrm>
            <a:off x="6897393" y="5116723"/>
            <a:ext cx="4635795" cy="268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2400" dirty="0">
                <a:solidFill>
                  <a:srgbClr val="5D5B6F"/>
                </a:solidFill>
                <a:latin typeface="Montserrat SemiBold" panose="00000700000000000000" pitchFamily="2" charset="-18"/>
              </a:rPr>
              <a:t>Срок окупаемости 4 месяца</a:t>
            </a:r>
            <a:endParaRPr lang="en-US" sz="2400" kern="2000" dirty="0">
              <a:solidFill>
                <a:srgbClr val="5D5B6F"/>
              </a:solidFill>
              <a:latin typeface="Montserrat SemiBold" panose="00000700000000000000" pitchFamily="2" charset="-18"/>
            </a:endParaRPr>
          </a:p>
        </p:txBody>
      </p:sp>
      <p:graphicFrame>
        <p:nvGraphicFramePr>
          <p:cNvPr id="3" name="Chart 273">
            <a:extLst>
              <a:ext uri="{FF2B5EF4-FFF2-40B4-BE49-F238E27FC236}">
                <a16:creationId xmlns:a16="http://schemas.microsoft.com/office/drawing/2014/main" id="{8264FACF-2048-C0EB-EAB4-606FACE6E2E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73052166"/>
              </p:ext>
            </p:extLst>
          </p:nvPr>
        </p:nvGraphicFramePr>
        <p:xfrm>
          <a:off x="6401211" y="1472870"/>
          <a:ext cx="5181598" cy="3470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9" name="Table 272">
            <a:extLst>
              <a:ext uri="{FF2B5EF4-FFF2-40B4-BE49-F238E27FC236}">
                <a16:creationId xmlns:a16="http://schemas.microsoft.com/office/drawing/2014/main" id="{D4E92B86-A4C5-60B2-B9ED-E924629164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1721688"/>
              </p:ext>
            </p:extLst>
          </p:nvPr>
        </p:nvGraphicFramePr>
        <p:xfrm>
          <a:off x="658812" y="1472870"/>
          <a:ext cx="5008341" cy="5145784"/>
        </p:xfrm>
        <a:graphic>
          <a:graphicData uri="http://schemas.openxmlformats.org/drawingml/2006/table">
            <a:tbl>
              <a:tblPr/>
              <a:tblGrid>
                <a:gridCol w="21810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24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24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4241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77603">
                <a:tc>
                  <a:txBody>
                    <a:bodyPr/>
                    <a:lstStyle/>
                    <a:p>
                      <a:pPr lvl="0" defTabSz="914400">
                        <a:defRPr sz="3000">
                          <a:latin typeface="Proxima Nova Regular"/>
                          <a:ea typeface="Proxima Nova Regular"/>
                          <a:cs typeface="Proxima Nova Regular"/>
                          <a:sym typeface="Proxima Nova Regular"/>
                        </a:defRPr>
                      </a:pPr>
                      <a:endParaRPr sz="1300" b="1" i="1" dirty="0">
                        <a:solidFill>
                          <a:srgbClr val="5D5B6F"/>
                        </a:solidFill>
                        <a:latin typeface="Montserrat" pitchFamily="2" charset="0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  <a:solidFill>
                      <a:srgbClr val="DDF9B8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defTabSz="914400">
                        <a:defRPr sz="1800"/>
                      </a:pPr>
                      <a:r>
                        <a:rPr lang="en-US" sz="1300" b="1" dirty="0">
                          <a:solidFill>
                            <a:srgbClr val="5D5B6F"/>
                          </a:solidFill>
                          <a:latin typeface="Montserrat" pitchFamily="2" charset="0"/>
                          <a:ea typeface="Proxima Nova Bold"/>
                          <a:cs typeface="Proxima Nova Bold"/>
                          <a:sym typeface="Proxima Nova Bold"/>
                        </a:rPr>
                        <a:t>2023</a:t>
                      </a:r>
                      <a:endParaRPr sz="1300" b="1" dirty="0">
                        <a:solidFill>
                          <a:srgbClr val="5D5B6F"/>
                        </a:solidFill>
                        <a:latin typeface="Montserrat" pitchFamily="2" charset="0"/>
                        <a:ea typeface="Proxima Nova Bold"/>
                        <a:cs typeface="Proxima Nova Bold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  <a:solidFill>
                      <a:srgbClr val="DDF9B8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defTabSz="914400">
                        <a:defRPr sz="1800"/>
                      </a:pPr>
                      <a:r>
                        <a:rPr sz="1300" b="1" dirty="0">
                          <a:solidFill>
                            <a:srgbClr val="5D5B6F"/>
                          </a:solidFill>
                          <a:latin typeface="Montserrat" pitchFamily="2" charset="0"/>
                          <a:ea typeface="Proxima Nova Bold"/>
                          <a:cs typeface="Proxima Nova Bold"/>
                          <a:sym typeface="Proxima Nova Bold"/>
                        </a:rPr>
                        <a:t>2</a:t>
                      </a:r>
                      <a:r>
                        <a:rPr lang="en-US" sz="1300" b="1" dirty="0">
                          <a:solidFill>
                            <a:srgbClr val="5D5B6F"/>
                          </a:solidFill>
                          <a:latin typeface="Montserrat" pitchFamily="2" charset="0"/>
                          <a:ea typeface="Proxima Nova Bold"/>
                          <a:cs typeface="Proxima Nova Bold"/>
                          <a:sym typeface="Proxima Nova Bold"/>
                        </a:rPr>
                        <a:t>024</a:t>
                      </a:r>
                      <a:endParaRPr sz="1300" b="1" dirty="0">
                        <a:solidFill>
                          <a:srgbClr val="5D5B6F"/>
                        </a:solidFill>
                        <a:latin typeface="Montserrat" pitchFamily="2" charset="0"/>
                        <a:ea typeface="Proxima Nova Bold"/>
                        <a:cs typeface="Proxima Nova Bold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  <a:solidFill>
                      <a:srgbClr val="DDF9B8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defTabSz="914400">
                        <a:defRPr sz="1800"/>
                      </a:pPr>
                      <a:r>
                        <a:rPr lang="en-US" sz="1300" b="1" dirty="0">
                          <a:solidFill>
                            <a:srgbClr val="5D5B6F"/>
                          </a:solidFill>
                          <a:latin typeface="Montserrat" pitchFamily="2" charset="0"/>
                          <a:ea typeface="Proxima Nova Bold"/>
                          <a:cs typeface="Proxima Nova Bold"/>
                          <a:sym typeface="Proxima Nova Bold"/>
                        </a:rPr>
                        <a:t>2025</a:t>
                      </a:r>
                      <a:endParaRPr sz="1300" b="1" dirty="0">
                        <a:solidFill>
                          <a:srgbClr val="5D5B6F"/>
                        </a:solidFill>
                        <a:latin typeface="Montserrat" pitchFamily="2" charset="0"/>
                        <a:ea typeface="Proxima Nova Bold"/>
                        <a:cs typeface="Proxima Nova Bold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  <a:solidFill>
                      <a:srgbClr val="DDF9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3436">
                <a:tc>
                  <a:txBody>
                    <a:bodyPr/>
                    <a:lstStyle/>
                    <a:p>
                      <a:pPr lvl="0" algn="l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Объем продаж, </a:t>
                      </a:r>
                      <a:r>
                        <a:rPr lang="ru-RU" sz="1100" dirty="0" err="1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ед.услуг</a:t>
                      </a: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 консультаций </a:t>
                      </a:r>
                    </a:p>
                    <a:p>
                      <a:pPr lvl="0" algn="l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сопровождение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1000</a:t>
                      </a:r>
                    </a:p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10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5000</a:t>
                      </a:r>
                    </a:p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20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10 000</a:t>
                      </a:r>
                    </a:p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100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2978">
                <a:tc>
                  <a:txBody>
                    <a:bodyPr/>
                    <a:lstStyle/>
                    <a:p>
                      <a:pPr lvl="0" algn="l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Количество к</a:t>
                      </a:r>
                      <a:r>
                        <a:rPr sz="1100" dirty="0" err="1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лиентов</a:t>
                      </a: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, подписка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1500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5000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10 000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31248">
                <a:tc>
                  <a:txBody>
                    <a:bodyPr/>
                    <a:lstStyle/>
                    <a:p>
                      <a:pPr lvl="0" algn="l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Средний чек, </a:t>
                      </a:r>
                      <a:r>
                        <a:rPr lang="ru-RU" sz="1100" dirty="0" err="1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руб</a:t>
                      </a:r>
                      <a:endParaRPr lang="ru-RU"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  <a:p>
                      <a:pPr lvl="0" algn="l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Консультации</a:t>
                      </a:r>
                    </a:p>
                    <a:p>
                      <a:pPr lvl="0" algn="l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Сопровождение</a:t>
                      </a:r>
                    </a:p>
                    <a:p>
                      <a:pPr lvl="0" algn="l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подписка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3000</a:t>
                      </a:r>
                    </a:p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40000</a:t>
                      </a:r>
                    </a:p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500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3000 </a:t>
                      </a:r>
                    </a:p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40000</a:t>
                      </a:r>
                    </a:p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500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3000</a:t>
                      </a:r>
                    </a:p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40 000</a:t>
                      </a:r>
                    </a:p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500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7554">
                <a:tc>
                  <a:txBody>
                    <a:bodyPr/>
                    <a:lstStyle/>
                    <a:p>
                      <a:pPr lvl="0" defTabSz="914400">
                        <a:defRPr sz="2700">
                          <a:latin typeface="Proxima Nova Regular"/>
                          <a:ea typeface="Proxima Nova Regular"/>
                          <a:cs typeface="Proxima Nova Regular"/>
                          <a:sym typeface="Proxima Nova Regular"/>
                        </a:defRPr>
                      </a:pPr>
                      <a:endParaRPr sz="1100">
                        <a:solidFill>
                          <a:srgbClr val="5D5B6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defTabSz="914400">
                        <a:defRPr sz="3000">
                          <a:latin typeface="Proxima Nova Regular"/>
                          <a:ea typeface="Proxima Nova Regular"/>
                          <a:cs typeface="Proxima Nova Regular"/>
                          <a:sym typeface="Proxima Nova Regular"/>
                        </a:defRPr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defTabSz="914400">
                        <a:defRPr sz="3000">
                          <a:latin typeface="Proxima Nova Regular"/>
                          <a:ea typeface="Proxima Nova Regular"/>
                          <a:cs typeface="Proxima Nova Regular"/>
                          <a:sym typeface="Proxima Nova Regular"/>
                        </a:defRPr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defTabSz="914400">
                        <a:defRPr sz="3000">
                          <a:latin typeface="Proxima Nova Regular"/>
                          <a:ea typeface="Proxima Nova Regular"/>
                          <a:cs typeface="Proxima Nova Regular"/>
                          <a:sym typeface="Proxima Nova Regular"/>
                        </a:defRPr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7554">
                <a:tc>
                  <a:txBody>
                    <a:bodyPr/>
                    <a:lstStyle/>
                    <a:p>
                      <a:pPr lvl="0" algn="l" defTabSz="914400">
                        <a:defRPr sz="1800"/>
                      </a:pPr>
                      <a:r>
                        <a:rPr sz="1100" dirty="0" err="1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Выручка</a:t>
                      </a:r>
                      <a:r>
                        <a:rPr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, </a:t>
                      </a:r>
                      <a:r>
                        <a:rPr sz="1100" dirty="0" err="1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тыс</a:t>
                      </a:r>
                      <a:r>
                        <a:rPr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. </a:t>
                      </a:r>
                      <a:r>
                        <a:rPr sz="1100" dirty="0" err="1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руб</a:t>
                      </a:r>
                      <a:r>
                        <a:rPr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.</a:t>
                      </a: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4 150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Bold"/>
                        <a:cs typeface="Times New Roman" pitchFamily="18" charset="0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16 800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Bold"/>
                        <a:cs typeface="Times New Roman" pitchFamily="18" charset="0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39 000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Bold"/>
                        <a:cs typeface="Times New Roman" pitchFamily="18" charset="0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7554">
                <a:tc>
                  <a:txBody>
                    <a:bodyPr/>
                    <a:lstStyle/>
                    <a:p>
                      <a:pPr lvl="0" defTabSz="914400">
                        <a:defRPr sz="2700">
                          <a:latin typeface="Proxima Nova Regular"/>
                          <a:ea typeface="Proxima Nova Regular"/>
                          <a:cs typeface="Proxima Nova Regular"/>
                          <a:sym typeface="Proxima Nova Regular"/>
                        </a:defRPr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defTabSz="914400">
                        <a:defRPr sz="3000">
                          <a:latin typeface="Proxima Nova Regular"/>
                          <a:ea typeface="Proxima Nova Regular"/>
                          <a:cs typeface="Proxima Nova Regular"/>
                          <a:sym typeface="Proxima Nova Regular"/>
                        </a:defRPr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defTabSz="914400">
                        <a:defRPr sz="3000">
                          <a:latin typeface="Proxima Nova Regular"/>
                          <a:ea typeface="Proxima Nova Regular"/>
                          <a:cs typeface="Proxima Nova Regular"/>
                          <a:sym typeface="Proxima Nova Regular"/>
                        </a:defRPr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defTabSz="914400">
                        <a:defRPr sz="3000">
                          <a:latin typeface="Proxima Nova Regular"/>
                          <a:ea typeface="Proxima Nova Regular"/>
                          <a:cs typeface="Proxima Nova Regular"/>
                          <a:sym typeface="Proxima Nova Regular"/>
                        </a:defRPr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7554">
                <a:tc>
                  <a:txBody>
                    <a:bodyPr/>
                    <a:lstStyle/>
                    <a:p>
                      <a:pPr lvl="0" algn="l" defTabSz="914400">
                        <a:defRPr sz="1800"/>
                      </a:pPr>
                      <a:r>
                        <a:rPr sz="1100" dirty="0" err="1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Расходы</a:t>
                      </a:r>
                      <a:r>
                        <a:rPr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, </a:t>
                      </a:r>
                      <a:r>
                        <a:rPr sz="1100" dirty="0" err="1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тыс</a:t>
                      </a:r>
                      <a:r>
                        <a:rPr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. </a:t>
                      </a:r>
                      <a:r>
                        <a:rPr sz="1100" dirty="0" err="1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руб</a:t>
                      </a:r>
                      <a:r>
                        <a:rPr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.</a:t>
                      </a: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, в </a:t>
                      </a:r>
                      <a:r>
                        <a:rPr lang="ru-RU" sz="1100" dirty="0" err="1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т.ч</a:t>
                      </a: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.: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Bold"/>
                        <a:cs typeface="Times New Roman" pitchFamily="18" charset="0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5 000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Bold"/>
                        <a:cs typeface="Times New Roman" pitchFamily="18" charset="0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10 000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Bold"/>
                        <a:cs typeface="Times New Roman" pitchFamily="18" charset="0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15 000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Bold"/>
                        <a:cs typeface="Times New Roman" pitchFamily="18" charset="0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7554">
                <a:tc>
                  <a:txBody>
                    <a:bodyPr/>
                    <a:lstStyle/>
                    <a:p>
                      <a:pPr marL="0" lvl="8" indent="136525" algn="l" defTabSz="914400">
                        <a:buFontTx/>
                        <a:buNone/>
                        <a:tabLst/>
                        <a:defRPr sz="1800"/>
                      </a:pPr>
                      <a:r>
                        <a:rPr sz="1100" dirty="0" err="1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Переменные</a:t>
                      </a:r>
                      <a:r>
                        <a:rPr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, </a:t>
                      </a:r>
                      <a:r>
                        <a:rPr sz="1100" dirty="0" err="1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тыс</a:t>
                      </a:r>
                      <a:r>
                        <a:rPr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. </a:t>
                      </a:r>
                      <a:r>
                        <a:rPr sz="1100" dirty="0" err="1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руб</a:t>
                      </a:r>
                      <a:r>
                        <a:rPr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.</a:t>
                      </a: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endParaRPr sz="110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7554">
                <a:tc>
                  <a:txBody>
                    <a:bodyPr/>
                    <a:lstStyle/>
                    <a:p>
                      <a:pPr marL="0" lvl="6" indent="136525" algn="l" defTabSz="914400">
                        <a:buFont typeface="Arial" panose="020B0604020202020204" pitchFamily="34" charset="0"/>
                        <a:buNone/>
                        <a:tabLst/>
                        <a:defRPr sz="1800"/>
                      </a:pPr>
                      <a:r>
                        <a:rPr sz="1100" b="0" i="0" u="none" strike="noStrike" cap="none" dirty="0" err="1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Постоянные</a:t>
                      </a:r>
                      <a:r>
                        <a:rPr sz="1100" b="0" i="0" u="none" strike="noStrike" cap="none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, </a:t>
                      </a:r>
                      <a:r>
                        <a:rPr sz="1100" b="0" i="0" u="none" strike="noStrike" cap="none" dirty="0" err="1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тыс</a:t>
                      </a:r>
                      <a:r>
                        <a:rPr sz="1100" b="0" i="0" u="none" strike="noStrike" cap="none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. </a:t>
                      </a:r>
                      <a:r>
                        <a:rPr sz="1100" b="0" i="0" u="none" strike="noStrike" cap="none" dirty="0" err="1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руб</a:t>
                      </a:r>
                      <a:r>
                        <a:rPr sz="1100" b="0" i="0" u="none" strike="noStrike" cap="none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.</a:t>
                      </a: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endParaRPr sz="110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8937">
                <a:tc>
                  <a:txBody>
                    <a:bodyPr/>
                    <a:lstStyle/>
                    <a:p>
                      <a:pPr lvl="0" defTabSz="914400">
                        <a:defRPr sz="2700">
                          <a:latin typeface="Proxima Nova Regular"/>
                          <a:ea typeface="Proxima Nova Regular"/>
                          <a:cs typeface="Proxima Nova Regular"/>
                          <a:sym typeface="Proxima Nova Regular"/>
                        </a:defRPr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defTabSz="914400">
                        <a:defRPr sz="3000">
                          <a:latin typeface="Proxima Nova Regular"/>
                          <a:ea typeface="Proxima Nova Regular"/>
                          <a:cs typeface="Proxima Nova Regular"/>
                          <a:sym typeface="Proxima Nova Regular"/>
                        </a:defRPr>
                      </a:pPr>
                      <a:endParaRPr sz="1100">
                        <a:solidFill>
                          <a:srgbClr val="5D5B6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defTabSz="914400">
                        <a:defRPr sz="3000">
                          <a:latin typeface="Proxima Nova Regular"/>
                          <a:ea typeface="Proxima Nova Regular"/>
                          <a:cs typeface="Proxima Nova Regular"/>
                          <a:sym typeface="Proxima Nova Regular"/>
                        </a:defRPr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defTabSz="914400">
                        <a:defRPr sz="3000">
                          <a:latin typeface="Proxima Nova Regular"/>
                          <a:ea typeface="Proxima Nova Regular"/>
                          <a:cs typeface="Proxima Nova Regular"/>
                          <a:sym typeface="Proxima Nova Regular"/>
                        </a:defRPr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7246">
                <a:tc>
                  <a:txBody>
                    <a:bodyPr/>
                    <a:lstStyle/>
                    <a:p>
                      <a:pPr lvl="0" algn="l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Операционная прибыль</a:t>
                      </a:r>
                      <a:r>
                        <a:rPr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, </a:t>
                      </a:r>
                      <a:r>
                        <a:rPr sz="1100" dirty="0" err="1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тыс</a:t>
                      </a:r>
                      <a:r>
                        <a:rPr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. </a:t>
                      </a:r>
                      <a:r>
                        <a:rPr sz="1100" dirty="0" err="1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руб</a:t>
                      </a:r>
                      <a:r>
                        <a:rPr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.</a:t>
                      </a: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 ДОХОД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Bold"/>
                        <a:cs typeface="Times New Roman" pitchFamily="18" charset="0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- 850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Bold"/>
                        <a:cs typeface="Times New Roman" pitchFamily="18" charset="0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6 800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Bold"/>
                        <a:cs typeface="Times New Roman" pitchFamily="18" charset="0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Bold"/>
                          <a:cs typeface="Times New Roman" pitchFamily="18" charset="0"/>
                          <a:sym typeface="Proxima Nova Bold"/>
                        </a:rPr>
                        <a:t>24 000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Bold"/>
                        <a:cs typeface="Times New Roman" pitchFamily="18" charset="0"/>
                        <a:sym typeface="Proxima Nova Bold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7554">
                <a:tc>
                  <a:txBody>
                    <a:bodyPr/>
                    <a:lstStyle/>
                    <a:p>
                      <a:pPr lvl="0" algn="l" defTabSz="914400">
                        <a:defRPr sz="1800"/>
                      </a:pPr>
                      <a:r>
                        <a:rPr lang="ru-RU" sz="1100" b="1" dirty="0">
                          <a:solidFill>
                            <a:schemeClr val="bg1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Маржа</a:t>
                      </a:r>
                      <a:r>
                        <a:rPr sz="1100" b="1" dirty="0">
                          <a:solidFill>
                            <a:schemeClr val="bg1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, %</a:t>
                      </a:r>
                      <a:r>
                        <a:rPr lang="ru-RU" sz="1100" b="1" dirty="0">
                          <a:solidFill>
                            <a:schemeClr val="bg1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 </a:t>
                      </a:r>
                      <a:endParaRPr sz="1100" b="1" dirty="0">
                        <a:solidFill>
                          <a:schemeClr val="bg1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B>
                    <a:solidFill>
                      <a:srgbClr val="14CE9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B>
                    <a:solidFill>
                      <a:srgbClr val="14CE9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B>
                    <a:solidFill>
                      <a:srgbClr val="14CE9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B>
                    <a:solidFill>
                      <a:srgbClr val="14CE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7554">
                <a:tc>
                  <a:txBody>
                    <a:bodyPr/>
                    <a:lstStyle/>
                    <a:p>
                      <a:pPr lvl="0" algn="l" defTabSz="914400">
                        <a:defRPr sz="1800"/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2858464"/>
                  </a:ext>
                </a:extLst>
              </a:tr>
              <a:tr h="277554">
                <a:tc>
                  <a:txBody>
                    <a:bodyPr/>
                    <a:lstStyle/>
                    <a:p>
                      <a:pPr lvl="0" algn="l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Активы, </a:t>
                      </a:r>
                      <a:r>
                        <a:rPr lang="ru-RU" sz="1100" dirty="0" err="1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тыс.руб</a:t>
                      </a: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.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3324506"/>
                  </a:ext>
                </a:extLst>
              </a:tr>
              <a:tr h="277554">
                <a:tc>
                  <a:txBody>
                    <a:bodyPr/>
                    <a:lstStyle/>
                    <a:p>
                      <a:pPr lvl="0" algn="l" defTabSz="914400">
                        <a:defRPr sz="1800"/>
                      </a:pP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Кредиты, займы, </a:t>
                      </a:r>
                      <a:r>
                        <a:rPr lang="ru-RU" sz="1100" dirty="0" err="1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тыс.руб</a:t>
                      </a:r>
                      <a:r>
                        <a:rPr lang="ru-RU" sz="1100" dirty="0">
                          <a:solidFill>
                            <a:srgbClr val="5D5B6F"/>
                          </a:solidFill>
                          <a:latin typeface="Times New Roman" pitchFamily="18" charset="0"/>
                          <a:ea typeface="Proxima Nova Regular"/>
                          <a:cs typeface="Times New Roman" pitchFamily="18" charset="0"/>
                          <a:sym typeface="Proxima Nova Regular"/>
                        </a:rPr>
                        <a:t>.</a:t>
                      </a: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>
                      <a:solidFill>
                        <a:srgbClr val="CBCBCB"/>
                      </a:solidFill>
                      <a:miter lim="400000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 algn="r" defTabSz="914400">
                        <a:defRPr sz="1800"/>
                      </a:pPr>
                      <a:endParaRPr sz="1100" dirty="0">
                        <a:solidFill>
                          <a:srgbClr val="5D5B6F"/>
                        </a:solidFill>
                        <a:latin typeface="Times New Roman" pitchFamily="18" charset="0"/>
                        <a:ea typeface="Proxima Nova Regular"/>
                        <a:cs typeface="Times New Roman" pitchFamily="18" charset="0"/>
                        <a:sym typeface="Proxima Nova Regular"/>
                      </a:endParaRPr>
                    </a:p>
                  </a:txBody>
                  <a:tcPr marL="63500" marR="63500" marT="0" marB="0" anchor="ctr" horzOverflow="overflow">
                    <a:lnL w="12700" cap="flat" cmpd="sng" algn="ctr">
                      <a:solidFill>
                        <a:srgbClr val="CBCBCB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12700">
                      <a:solidFill>
                        <a:srgbClr val="CBCBCB"/>
                      </a:solidFill>
                      <a:miter lim="400000"/>
                    </a:lnR>
                    <a:lnT w="12700">
                      <a:solidFill>
                        <a:srgbClr val="CBCBCB"/>
                      </a:solidFill>
                      <a:miter lim="400000"/>
                    </a:lnT>
                    <a:lnB w="12700">
                      <a:solidFill>
                        <a:srgbClr val="CBCBCB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88345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05041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837075" y="864561"/>
            <a:ext cx="1326597" cy="53872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3600" b="1" dirty="0">
                <a:solidFill>
                  <a:srgbClr val="14CE9F"/>
                </a:solidFill>
                <a:latin typeface="Gabriela" panose="00000500000000000000" pitchFamily="2" charset="0"/>
              </a:rPr>
              <a:t>Старт</a:t>
            </a:r>
            <a:endParaRPr lang="en-US" sz="3600" b="1" dirty="0">
              <a:solidFill>
                <a:srgbClr val="14CE9F"/>
              </a:solidFill>
              <a:latin typeface="Gabriela" panose="00000500000000000000" pitchFamily="2" charset="0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1500374" y="1403287"/>
            <a:ext cx="0" cy="1482788"/>
          </a:xfrm>
          <a:prstGeom prst="line">
            <a:avLst/>
          </a:prstGeom>
          <a:ln>
            <a:solidFill>
              <a:srgbClr val="5D5B6F">
                <a:alpha val="48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/>
        </p:nvSpPr>
        <p:spPr>
          <a:xfrm>
            <a:off x="1313084" y="3065277"/>
            <a:ext cx="376016" cy="376016"/>
          </a:xfrm>
          <a:prstGeom prst="ellipse">
            <a:avLst/>
          </a:prstGeom>
          <a:solidFill>
            <a:srgbClr val="F6F6F9"/>
          </a:solidFill>
          <a:ln w="6350">
            <a:solidFill>
              <a:srgbClr val="14CE9F">
                <a:alpha val="46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Oval 22"/>
          <p:cNvSpPr/>
          <p:nvPr/>
        </p:nvSpPr>
        <p:spPr>
          <a:xfrm>
            <a:off x="1412035" y="3164228"/>
            <a:ext cx="178114" cy="178114"/>
          </a:xfrm>
          <a:prstGeom prst="ellipse">
            <a:avLst/>
          </a:prstGeom>
          <a:solidFill>
            <a:srgbClr val="F6F6F9"/>
          </a:solidFill>
          <a:ln w="12700">
            <a:solidFill>
              <a:srgbClr val="14CE9F">
                <a:alpha val="65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1434029" y="3186222"/>
            <a:ext cx="134127" cy="134127"/>
          </a:xfrm>
          <a:prstGeom prst="ellipse">
            <a:avLst/>
          </a:prstGeom>
          <a:gradFill flip="none" rotWithShape="1">
            <a:gsLst>
              <a:gs pos="90000">
                <a:srgbClr val="14CE9F"/>
              </a:gs>
              <a:gs pos="100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Oval 31"/>
          <p:cNvSpPr/>
          <p:nvPr/>
        </p:nvSpPr>
        <p:spPr>
          <a:xfrm>
            <a:off x="1252759" y="3004952"/>
            <a:ext cx="496666" cy="496666"/>
          </a:xfrm>
          <a:prstGeom prst="ellipse">
            <a:avLst/>
          </a:prstGeom>
          <a:noFill/>
          <a:ln w="38100">
            <a:solidFill>
              <a:srgbClr val="14CE9F">
                <a:alpha val="12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4" name="Straight Connector 33"/>
          <p:cNvCxnSpPr/>
          <p:nvPr/>
        </p:nvCxnSpPr>
        <p:spPr>
          <a:xfrm>
            <a:off x="1809750" y="3228946"/>
            <a:ext cx="9445721" cy="0"/>
          </a:xfrm>
          <a:prstGeom prst="line">
            <a:avLst/>
          </a:prstGeom>
          <a:ln>
            <a:solidFill>
              <a:srgbClr val="14C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34"/>
          <p:cNvSpPr/>
          <p:nvPr/>
        </p:nvSpPr>
        <p:spPr>
          <a:xfrm>
            <a:off x="3818567" y="3148931"/>
            <a:ext cx="171418" cy="171418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Oval 35"/>
          <p:cNvSpPr/>
          <p:nvPr/>
        </p:nvSpPr>
        <p:spPr>
          <a:xfrm>
            <a:off x="6240396" y="3148931"/>
            <a:ext cx="171418" cy="171418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Oval 36"/>
          <p:cNvSpPr/>
          <p:nvPr/>
        </p:nvSpPr>
        <p:spPr>
          <a:xfrm>
            <a:off x="8662225" y="3148931"/>
            <a:ext cx="171418" cy="171418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Oval 37"/>
          <p:cNvSpPr/>
          <p:nvPr/>
        </p:nvSpPr>
        <p:spPr>
          <a:xfrm>
            <a:off x="11084053" y="3148931"/>
            <a:ext cx="171418" cy="171418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TextBox 38"/>
          <p:cNvSpPr txBox="1"/>
          <p:nvPr/>
        </p:nvSpPr>
        <p:spPr>
          <a:xfrm rot="16200000">
            <a:off x="1060118" y="3911146"/>
            <a:ext cx="880511" cy="25935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500" b="1" dirty="0">
                <a:solidFill>
                  <a:srgbClr val="5D5B6F"/>
                </a:solidFill>
              </a:rPr>
              <a:t>20</a:t>
            </a:r>
            <a:r>
              <a:rPr lang="ru-RU" sz="1500" b="1" dirty="0">
                <a:solidFill>
                  <a:srgbClr val="5D5B6F"/>
                </a:solidFill>
              </a:rPr>
              <a:t>23</a:t>
            </a:r>
            <a:endParaRPr lang="en-US" sz="1500" b="1" dirty="0">
              <a:solidFill>
                <a:srgbClr val="5D5B6F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809751" y="3546711"/>
            <a:ext cx="1791016" cy="7401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Сайт-</a:t>
            </a:r>
            <a:r>
              <a:rPr lang="ru-RU" sz="11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лендинг</a:t>
            </a:r>
            <a:endParaRPr lang="ru-RU" sz="11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  <a:p>
            <a:pPr>
              <a:lnSpc>
                <a:spcPts val="2000"/>
              </a:lnSpc>
            </a:pPr>
            <a:r>
              <a:rPr lang="ru-RU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Тестовая версия чат-бот</a:t>
            </a:r>
          </a:p>
          <a:p>
            <a:pPr>
              <a:lnSpc>
                <a:spcPts val="2000"/>
              </a:lnSpc>
            </a:pPr>
            <a:r>
              <a:rPr lang="ru-RU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Создание сообщества</a:t>
            </a:r>
            <a:endParaRPr lang="en-US" sz="1100" kern="20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42" name="TextBox 41"/>
          <p:cNvSpPr txBox="1"/>
          <p:nvPr/>
        </p:nvSpPr>
        <p:spPr>
          <a:xfrm rot="16200000">
            <a:off x="3469889" y="3911146"/>
            <a:ext cx="880511" cy="25935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500" b="1" dirty="0">
                <a:solidFill>
                  <a:srgbClr val="5D5B6F">
                    <a:alpha val="50000"/>
                  </a:srgbClr>
                </a:solidFill>
              </a:rPr>
              <a:t>20</a:t>
            </a:r>
            <a:r>
              <a:rPr lang="ru-RU" sz="1500" b="1" dirty="0">
                <a:solidFill>
                  <a:srgbClr val="5D5B6F">
                    <a:alpha val="50000"/>
                  </a:srgbClr>
                </a:solidFill>
              </a:rPr>
              <a:t>24</a:t>
            </a:r>
            <a:endParaRPr lang="en-US" sz="1500" b="1" dirty="0">
              <a:solidFill>
                <a:srgbClr val="5D5B6F">
                  <a:alpha val="50000"/>
                </a:srgbClr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219522" y="3546711"/>
            <a:ext cx="1720850" cy="125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Полномасштабная разработка сайта и его продвижение</a:t>
            </a:r>
          </a:p>
          <a:p>
            <a:pPr>
              <a:lnSpc>
                <a:spcPts val="2000"/>
              </a:lnSpc>
            </a:pPr>
            <a:r>
              <a:rPr lang="ru-RU" sz="1100" kern="2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Привлечение 1000 пользователей</a:t>
            </a:r>
            <a:endParaRPr lang="en-US" sz="1100" kern="20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44" name="TextBox 43"/>
          <p:cNvSpPr txBox="1"/>
          <p:nvPr/>
        </p:nvSpPr>
        <p:spPr>
          <a:xfrm rot="16200000">
            <a:off x="5892360" y="3911146"/>
            <a:ext cx="880511" cy="25935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500" b="1" dirty="0">
                <a:solidFill>
                  <a:srgbClr val="5D5B6F">
                    <a:alpha val="50000"/>
                  </a:srgbClr>
                </a:solidFill>
              </a:rPr>
              <a:t>20</a:t>
            </a:r>
            <a:r>
              <a:rPr lang="ru-RU" sz="1500" b="1" dirty="0">
                <a:solidFill>
                  <a:srgbClr val="5D5B6F">
                    <a:alpha val="50000"/>
                  </a:srgbClr>
                </a:solidFill>
              </a:rPr>
              <a:t>25</a:t>
            </a:r>
            <a:endParaRPr lang="en-US" sz="1500" b="1" dirty="0">
              <a:solidFill>
                <a:srgbClr val="5D5B6F">
                  <a:alpha val="50000"/>
                </a:srgbClr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6641993" y="3546711"/>
            <a:ext cx="1720850" cy="15095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Создание партнёрских отношений (ФСИ, Акселераторы, Мой бизнес, МСП)</a:t>
            </a:r>
          </a:p>
          <a:p>
            <a:pPr>
              <a:lnSpc>
                <a:spcPts val="2000"/>
              </a:lnSpc>
            </a:pPr>
            <a:r>
              <a:rPr lang="ru-RU" sz="1100" kern="2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Привлечение 5000 пользователей</a:t>
            </a:r>
            <a:endParaRPr lang="en-US" sz="1100" kern="20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47" name="TextBox 46"/>
          <p:cNvSpPr txBox="1"/>
          <p:nvPr/>
        </p:nvSpPr>
        <p:spPr>
          <a:xfrm rot="16200000">
            <a:off x="8314831" y="3911146"/>
            <a:ext cx="880511" cy="25935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500" b="1" dirty="0">
                <a:solidFill>
                  <a:srgbClr val="5D5B6F">
                    <a:alpha val="50000"/>
                  </a:srgbClr>
                </a:solidFill>
              </a:rPr>
              <a:t>20</a:t>
            </a:r>
            <a:r>
              <a:rPr lang="ru-RU" sz="1500" b="1" dirty="0">
                <a:solidFill>
                  <a:srgbClr val="5D5B6F">
                    <a:alpha val="50000"/>
                  </a:srgbClr>
                </a:solidFill>
              </a:rPr>
              <a:t>26</a:t>
            </a:r>
            <a:endParaRPr lang="en-US" sz="1500" b="1" dirty="0">
              <a:solidFill>
                <a:srgbClr val="5D5B6F">
                  <a:alpha val="50000"/>
                </a:srgbClr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9064464" y="3546711"/>
            <a:ext cx="1720850" cy="9966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Платформа разработана, привлечено более</a:t>
            </a:r>
            <a:br>
              <a:rPr lang="ru-RU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</a:br>
            <a:r>
              <a:rPr lang="ru-RU" sz="1100" kern="2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10 000 пользователей</a:t>
            </a:r>
            <a:endParaRPr lang="en-US" sz="1100" kern="20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49" name="TextBox 48"/>
          <p:cNvSpPr txBox="1"/>
          <p:nvPr/>
        </p:nvSpPr>
        <p:spPr>
          <a:xfrm rot="16200000">
            <a:off x="10729506" y="3911146"/>
            <a:ext cx="880511" cy="25935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500" b="1" dirty="0">
                <a:solidFill>
                  <a:srgbClr val="5D5B6F">
                    <a:alpha val="15000"/>
                  </a:srgbClr>
                </a:solidFill>
              </a:rPr>
              <a:t>20</a:t>
            </a:r>
            <a:r>
              <a:rPr lang="ru-RU" sz="1500" b="1" dirty="0">
                <a:solidFill>
                  <a:srgbClr val="5D5B6F">
                    <a:alpha val="15000"/>
                  </a:srgbClr>
                </a:solidFill>
              </a:rPr>
              <a:t>26</a:t>
            </a:r>
            <a:endParaRPr lang="en-US" sz="1500" b="1" dirty="0">
              <a:solidFill>
                <a:srgbClr val="5D5B6F">
                  <a:alpha val="15000"/>
                </a:srgbClr>
              </a:solidFill>
            </a:endParaRPr>
          </a:p>
        </p:txBody>
      </p:sp>
      <p:cxnSp>
        <p:nvCxnSpPr>
          <p:cNvPr id="51" name="Straight Connector 50"/>
          <p:cNvCxnSpPr/>
          <p:nvPr/>
        </p:nvCxnSpPr>
        <p:spPr>
          <a:xfrm>
            <a:off x="11255471" y="3228946"/>
            <a:ext cx="1060354" cy="0"/>
          </a:xfrm>
          <a:prstGeom prst="line">
            <a:avLst/>
          </a:prstGeom>
          <a:ln>
            <a:solidFill>
              <a:srgbClr val="5D5B6F">
                <a:alpha val="27059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4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2523" y="2224469"/>
            <a:ext cx="902271" cy="546567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2724" y="2198724"/>
            <a:ext cx="385844" cy="598056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8995" y="2254426"/>
            <a:ext cx="586845" cy="486652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2487" y="2223414"/>
            <a:ext cx="515277" cy="54867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AE71C3E-5B16-D8AA-F27C-E2B43A84E6C4}"/>
              </a:ext>
            </a:extLst>
          </p:cNvPr>
          <p:cNvSpPr txBox="1"/>
          <p:nvPr/>
        </p:nvSpPr>
        <p:spPr>
          <a:xfrm>
            <a:off x="10473405" y="864561"/>
            <a:ext cx="1326597" cy="53872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3600" b="1" dirty="0">
                <a:solidFill>
                  <a:srgbClr val="14CE9F"/>
                </a:solidFill>
                <a:latin typeface="Gabriela" panose="00000500000000000000" pitchFamily="2" charset="0"/>
              </a:rPr>
              <a:t>План</a:t>
            </a:r>
            <a:endParaRPr lang="en-US" sz="3600" b="1" dirty="0">
              <a:solidFill>
                <a:srgbClr val="14CE9F"/>
              </a:solidFill>
              <a:latin typeface="Gabriela" panose="00000500000000000000" pitchFamily="2" charset="0"/>
            </a:endParaRPr>
          </a:p>
        </p:txBody>
      </p:sp>
      <p:cxnSp>
        <p:nvCxnSpPr>
          <p:cNvPr id="3" name="Straight Connector 19">
            <a:extLst>
              <a:ext uri="{FF2B5EF4-FFF2-40B4-BE49-F238E27FC236}">
                <a16:creationId xmlns:a16="http://schemas.microsoft.com/office/drawing/2014/main" id="{98F54E9C-95A8-C97E-D37E-3336FEB59A4B}"/>
              </a:ext>
            </a:extLst>
          </p:cNvPr>
          <p:cNvCxnSpPr/>
          <p:nvPr/>
        </p:nvCxnSpPr>
        <p:spPr>
          <a:xfrm>
            <a:off x="11136704" y="1403287"/>
            <a:ext cx="0" cy="1482788"/>
          </a:xfrm>
          <a:prstGeom prst="line">
            <a:avLst/>
          </a:prstGeom>
          <a:ln>
            <a:solidFill>
              <a:srgbClr val="5D5B6F">
                <a:alpha val="48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Oval 23">
            <a:extLst>
              <a:ext uri="{FF2B5EF4-FFF2-40B4-BE49-F238E27FC236}">
                <a16:creationId xmlns:a16="http://schemas.microsoft.com/office/drawing/2014/main" id="{2376F3E9-4A28-205A-C1BA-10D2FD95FE19}"/>
              </a:ext>
            </a:extLst>
          </p:cNvPr>
          <p:cNvSpPr/>
          <p:nvPr/>
        </p:nvSpPr>
        <p:spPr>
          <a:xfrm>
            <a:off x="10963109" y="3065277"/>
            <a:ext cx="376016" cy="376016"/>
          </a:xfrm>
          <a:prstGeom prst="ellipse">
            <a:avLst/>
          </a:prstGeom>
          <a:solidFill>
            <a:srgbClr val="F6F6F9"/>
          </a:solidFill>
          <a:ln w="6350">
            <a:solidFill>
              <a:srgbClr val="14CE9F">
                <a:alpha val="46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22">
            <a:extLst>
              <a:ext uri="{FF2B5EF4-FFF2-40B4-BE49-F238E27FC236}">
                <a16:creationId xmlns:a16="http://schemas.microsoft.com/office/drawing/2014/main" id="{5CF6A886-908A-7607-AB6F-3A69EB1ACEAB}"/>
              </a:ext>
            </a:extLst>
          </p:cNvPr>
          <p:cNvSpPr/>
          <p:nvPr/>
        </p:nvSpPr>
        <p:spPr>
          <a:xfrm>
            <a:off x="11062060" y="3164228"/>
            <a:ext cx="178114" cy="178114"/>
          </a:xfrm>
          <a:prstGeom prst="ellipse">
            <a:avLst/>
          </a:prstGeom>
          <a:solidFill>
            <a:srgbClr val="F6F6F9"/>
          </a:solidFill>
          <a:ln w="12700">
            <a:solidFill>
              <a:srgbClr val="14CE9F">
                <a:alpha val="65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Oval 7">
            <a:extLst>
              <a:ext uri="{FF2B5EF4-FFF2-40B4-BE49-F238E27FC236}">
                <a16:creationId xmlns:a16="http://schemas.microsoft.com/office/drawing/2014/main" id="{B76BA7D3-DAAB-2A1E-0865-98A88FC8CD4F}"/>
              </a:ext>
            </a:extLst>
          </p:cNvPr>
          <p:cNvSpPr/>
          <p:nvPr/>
        </p:nvSpPr>
        <p:spPr>
          <a:xfrm>
            <a:off x="11084054" y="3186222"/>
            <a:ext cx="134127" cy="134127"/>
          </a:xfrm>
          <a:prstGeom prst="ellipse">
            <a:avLst/>
          </a:prstGeom>
          <a:gradFill flip="none" rotWithShape="1">
            <a:gsLst>
              <a:gs pos="90000">
                <a:srgbClr val="14CE9F"/>
              </a:gs>
              <a:gs pos="100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31">
            <a:extLst>
              <a:ext uri="{FF2B5EF4-FFF2-40B4-BE49-F238E27FC236}">
                <a16:creationId xmlns:a16="http://schemas.microsoft.com/office/drawing/2014/main" id="{CE56524D-155B-22ED-8FC9-64FD5F6C9476}"/>
              </a:ext>
            </a:extLst>
          </p:cNvPr>
          <p:cNvSpPr/>
          <p:nvPr/>
        </p:nvSpPr>
        <p:spPr>
          <a:xfrm>
            <a:off x="10902784" y="3004952"/>
            <a:ext cx="496666" cy="496666"/>
          </a:xfrm>
          <a:prstGeom prst="ellipse">
            <a:avLst/>
          </a:prstGeom>
          <a:noFill/>
          <a:ln w="38100">
            <a:solidFill>
              <a:srgbClr val="14CE9F">
                <a:alpha val="12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2476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2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2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25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2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4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7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8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9" dur="75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0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2" dur="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4" dur="7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22" presetClass="entr" presetSubtype="4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7" dur="75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10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22" presetClass="entr" presetSubtype="8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3" dur="8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10" presetClass="entr" presetSubtype="0" fill="hold" grpId="0" nodeType="withEffect">
                                      <p:stCondLst>
                                        <p:cond delay="170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6" dur="5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7" presetID="10" presetClass="entr" presetSubtype="0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9" dur="50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grpId="0" nodeType="withEffect">
                                      <p:stCondLst>
                                        <p:cond delay="230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10" presetClass="entr" presetSubtype="0" fill="hold" grpId="0" nodeType="withEffect">
                                      <p:stCondLst>
                                        <p:cond delay="250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6" presetID="2" presetClass="entr" presetSubtype="1" fill="hold" nodeType="withEffect" p14:presetBounceEnd="46000">
                                      <p:stCondLst>
                                        <p:cond delay="260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48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49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0" presetID="2" presetClass="entr" presetSubtype="1" fill="hold" nodeType="withEffect" p14:presetBounceEnd="46000">
                                      <p:stCondLst>
                                        <p:cond delay="280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52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53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4" presetID="2" presetClass="entr" presetSubtype="1" fill="hold" nodeType="withEffect" p14:presetBounceEnd="46000">
                                      <p:stCondLst>
                                        <p:cond delay="310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56" dur="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57" dur="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8" presetID="2" presetClass="entr" presetSubtype="1" fill="hold" nodeType="withEffect" p14:presetBounceEnd="46000">
                                      <p:stCondLst>
                                        <p:cond delay="320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60" dur="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61" dur="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2" presetID="10" presetClass="entr" presetSubtype="0" fill="hold" grpId="0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4" dur="50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5" presetID="10" presetClass="entr" presetSubtype="0" fill="hold" grpId="0" nodeType="withEffect">
                                      <p:stCondLst>
                                        <p:cond delay="320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7" dur="5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8" presetID="10" presetClass="entr" presetSubtype="0" fill="hold" grpId="0" nodeType="withEffect">
                                      <p:stCondLst>
                                        <p:cond delay="340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0" dur="4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1" presetID="10" presetClass="entr" presetSubtype="0" fill="hold" grpId="0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7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3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4" presetID="10" presetClass="entr" presetSubtype="0" fill="hold" grpId="0" nodeType="withEffect">
                                      <p:stCondLst>
                                        <p:cond delay="3600"/>
                                      </p:stCondLst>
                                      <p:childTnLst>
                                        <p:set>
                                          <p:cBhvr>
                                            <p:cTn id="7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6" dur="5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7" presetID="10" presetClass="entr" presetSubtype="0" fill="hold" grpId="0" nodeType="withEffect">
                                      <p:stCondLst>
                                        <p:cond delay="380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9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0" presetID="10" presetClass="entr" presetSubtype="0" fill="hold" grpId="0" nodeType="withEffect">
                                      <p:stCondLst>
                                        <p:cond delay="3900"/>
                                      </p:stCondLst>
                                      <p:childTnLst>
                                        <p:set>
                                          <p:cBhvr>
                                            <p:cTn id="8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2" dur="500"/>
                                            <p:tgtEl>
                                              <p:spTgt spid="4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3" presetID="10" presetClass="entr" presetSubtype="0" fill="hold" grpId="0" nodeType="withEffect">
                                      <p:stCondLst>
                                        <p:cond delay="4000"/>
                                      </p:stCondLst>
                                      <p:childTnLst>
                                        <p:set>
                                          <p:cBhvr>
                                            <p:cTn id="8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5" dur="50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6" presetID="10" presetClass="entr" presetSubtype="0" fill="hold" grpId="0" nodeType="withEffect">
                                      <p:stCondLst>
                                        <p:cond delay="420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8" dur="50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9" presetID="22" presetClass="entr" presetSubtype="8" fill="hold" nodeType="withEffect">
                                      <p:stCondLst>
                                        <p:cond delay="4300"/>
                                      </p:stCondLst>
                                      <p:childTnLst>
                                        <p:set>
                                          <p:cBhvr>
                                            <p:cTn id="9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91" dur="500"/>
                                            <p:tgtEl>
                                              <p:spTgt spid="5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2" presetID="53" presetClass="entr" presetSubtype="16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9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4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6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7" presetID="53" presetClass="entr" presetSubtype="16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9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9" dur="9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0" dur="9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01" dur="9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2" presetID="53" presetClass="entr" presetSubtype="16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10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04" dur="12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5" dur="12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06" dur="12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7" presetID="53" presetClass="entr" presetSubtype="16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10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09" dur="17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10" dur="17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11" dur="17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2" presetID="22" presetClass="entr" presetSubtype="4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14" dur="1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5" presetID="10" presetClass="entr" presetSubtype="0" fill="hold" grpId="0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1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7" dur="1500"/>
                                            <p:tgtEl>
                                              <p:spTgt spid="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7" grpId="0"/>
          <p:bldP spid="24" grpId="0" animBg="1"/>
          <p:bldP spid="23" grpId="0" animBg="1"/>
          <p:bldP spid="8" grpId="0" animBg="1"/>
          <p:bldP spid="32" grpId="0" animBg="1"/>
          <p:bldP spid="35" grpId="0" animBg="1"/>
          <p:bldP spid="36" grpId="0" animBg="1"/>
          <p:bldP spid="37" grpId="0" animBg="1"/>
          <p:bldP spid="38" grpId="0" animBg="1"/>
          <p:bldP spid="39" grpId="0"/>
          <p:bldP spid="40" grpId="0"/>
          <p:bldP spid="42" grpId="0"/>
          <p:bldP spid="43" grpId="0"/>
          <p:bldP spid="44" grpId="0"/>
          <p:bldP spid="45" grpId="0"/>
          <p:bldP spid="47" grpId="0"/>
          <p:bldP spid="48" grpId="0"/>
          <p:bldP spid="49" grpId="0"/>
          <p:bldP spid="2" grpId="0"/>
          <p:bldP spid="4" grpId="0" animBg="1"/>
          <p:bldP spid="5" grpId="0" animBg="1"/>
          <p:bldP spid="7" grpId="0" animBg="1"/>
          <p:bldP spid="9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2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2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25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2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4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7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8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9" dur="75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0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2" dur="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4" dur="7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22" presetClass="entr" presetSubtype="4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7" dur="75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10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22" presetClass="entr" presetSubtype="8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3" dur="8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10" presetClass="entr" presetSubtype="0" fill="hold" grpId="0" nodeType="withEffect">
                                      <p:stCondLst>
                                        <p:cond delay="170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6" dur="5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7" presetID="10" presetClass="entr" presetSubtype="0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9" dur="50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grpId="0" nodeType="withEffect">
                                      <p:stCondLst>
                                        <p:cond delay="230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10" presetClass="entr" presetSubtype="0" fill="hold" grpId="0" nodeType="withEffect">
                                      <p:stCondLst>
                                        <p:cond delay="250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6" presetID="2" presetClass="entr" presetSubtype="1" fill="hold" nodeType="withEffect">
                                      <p:stCondLst>
                                        <p:cond delay="260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8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9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0" presetID="2" presetClass="entr" presetSubtype="1" fill="hold" nodeType="withEffect">
                                      <p:stCondLst>
                                        <p:cond delay="280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2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3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4" presetID="2" presetClass="entr" presetSubtype="1" fill="hold" nodeType="withEffect">
                                      <p:stCondLst>
                                        <p:cond delay="310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6" dur="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7" dur="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8" presetID="2" presetClass="entr" presetSubtype="1" fill="hold" nodeType="withEffect">
                                      <p:stCondLst>
                                        <p:cond delay="320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0" dur="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1" dur="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2" presetID="10" presetClass="entr" presetSubtype="0" fill="hold" grpId="0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4" dur="50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5" presetID="10" presetClass="entr" presetSubtype="0" fill="hold" grpId="0" nodeType="withEffect">
                                      <p:stCondLst>
                                        <p:cond delay="320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7" dur="5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8" presetID="10" presetClass="entr" presetSubtype="0" fill="hold" grpId="0" nodeType="withEffect">
                                      <p:stCondLst>
                                        <p:cond delay="340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0" dur="4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1" presetID="10" presetClass="entr" presetSubtype="0" fill="hold" grpId="0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7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3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4" presetID="10" presetClass="entr" presetSubtype="0" fill="hold" grpId="0" nodeType="withEffect">
                                      <p:stCondLst>
                                        <p:cond delay="3600"/>
                                      </p:stCondLst>
                                      <p:childTnLst>
                                        <p:set>
                                          <p:cBhvr>
                                            <p:cTn id="7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6" dur="5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7" presetID="10" presetClass="entr" presetSubtype="0" fill="hold" grpId="0" nodeType="withEffect">
                                      <p:stCondLst>
                                        <p:cond delay="380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9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0" presetID="10" presetClass="entr" presetSubtype="0" fill="hold" grpId="0" nodeType="withEffect">
                                      <p:stCondLst>
                                        <p:cond delay="3900"/>
                                      </p:stCondLst>
                                      <p:childTnLst>
                                        <p:set>
                                          <p:cBhvr>
                                            <p:cTn id="8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2" dur="500"/>
                                            <p:tgtEl>
                                              <p:spTgt spid="4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3" presetID="10" presetClass="entr" presetSubtype="0" fill="hold" grpId="0" nodeType="withEffect">
                                      <p:stCondLst>
                                        <p:cond delay="4000"/>
                                      </p:stCondLst>
                                      <p:childTnLst>
                                        <p:set>
                                          <p:cBhvr>
                                            <p:cTn id="8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5" dur="50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6" presetID="10" presetClass="entr" presetSubtype="0" fill="hold" grpId="0" nodeType="withEffect">
                                      <p:stCondLst>
                                        <p:cond delay="420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8" dur="50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9" presetID="22" presetClass="entr" presetSubtype="8" fill="hold" nodeType="withEffect">
                                      <p:stCondLst>
                                        <p:cond delay="4300"/>
                                      </p:stCondLst>
                                      <p:childTnLst>
                                        <p:set>
                                          <p:cBhvr>
                                            <p:cTn id="9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91" dur="500"/>
                                            <p:tgtEl>
                                              <p:spTgt spid="5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2" presetID="53" presetClass="entr" presetSubtype="16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9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4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6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7" presetID="53" presetClass="entr" presetSubtype="16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9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9" dur="9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0" dur="9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01" dur="9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2" presetID="53" presetClass="entr" presetSubtype="16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10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04" dur="12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5" dur="12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06" dur="12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7" presetID="53" presetClass="entr" presetSubtype="16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10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09" dur="17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10" dur="17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11" dur="17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2" presetID="22" presetClass="entr" presetSubtype="4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14" dur="1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5" presetID="10" presetClass="entr" presetSubtype="0" fill="hold" grpId="0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1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7" dur="1500"/>
                                            <p:tgtEl>
                                              <p:spTgt spid="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7" grpId="0"/>
          <p:bldP spid="24" grpId="0" animBg="1"/>
          <p:bldP spid="23" grpId="0" animBg="1"/>
          <p:bldP spid="8" grpId="0" animBg="1"/>
          <p:bldP spid="32" grpId="0" animBg="1"/>
          <p:bldP spid="35" grpId="0" animBg="1"/>
          <p:bldP spid="36" grpId="0" animBg="1"/>
          <p:bldP spid="37" grpId="0" animBg="1"/>
          <p:bldP spid="38" grpId="0" animBg="1"/>
          <p:bldP spid="39" grpId="0"/>
          <p:bldP spid="40" grpId="0"/>
          <p:bldP spid="42" grpId="0"/>
          <p:bldP spid="43" grpId="0"/>
          <p:bldP spid="44" grpId="0"/>
          <p:bldP spid="45" grpId="0"/>
          <p:bldP spid="47" grpId="0"/>
          <p:bldP spid="48" grpId="0"/>
          <p:bldP spid="49" grpId="0"/>
          <p:bldP spid="2" grpId="0"/>
          <p:bldP spid="4" grpId="0" animBg="1"/>
          <p:bldP spid="5" grpId="0" animBg="1"/>
          <p:bldP spid="7" grpId="0" animBg="1"/>
          <p:bldP spid="9" grpId="0" animBg="1"/>
        </p:bldLst>
      </p:timing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14"/>
          <p:cNvSpPr/>
          <p:nvPr/>
        </p:nvSpPr>
        <p:spPr>
          <a:xfrm flipH="1">
            <a:off x="5343978" y="-41729"/>
            <a:ext cx="6152243" cy="6915149"/>
          </a:xfrm>
          <a:custGeom>
            <a:avLst/>
            <a:gdLst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5992586 w 6210300"/>
              <a:gd name="connsiteY1" fmla="*/ 3436257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088571 w 6210300"/>
              <a:gd name="connsiteY0" fmla="*/ 688522 h 8915400"/>
              <a:gd name="connsiteX1" fmla="*/ 5992586 w 6210300"/>
              <a:gd name="connsiteY1" fmla="*/ 3436257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088571 w 6210300"/>
              <a:gd name="connsiteY5" fmla="*/ 688522 h 8915400"/>
              <a:gd name="connsiteX0" fmla="*/ 1088571 w 6210300"/>
              <a:gd name="connsiteY0" fmla="*/ 6350 h 8233228"/>
              <a:gd name="connsiteX1" fmla="*/ 5992586 w 6210300"/>
              <a:gd name="connsiteY1" fmla="*/ 2754085 h 8233228"/>
              <a:gd name="connsiteX2" fmla="*/ 6210300 w 6210300"/>
              <a:gd name="connsiteY2" fmla="*/ 7103835 h 8233228"/>
              <a:gd name="connsiteX3" fmla="*/ 0 w 6210300"/>
              <a:gd name="connsiteY3" fmla="*/ 8233228 h 8233228"/>
              <a:gd name="connsiteX4" fmla="*/ 29935 w 6210300"/>
              <a:gd name="connsiteY4" fmla="*/ 0 h 8233228"/>
              <a:gd name="connsiteX5" fmla="*/ 1088571 w 6210300"/>
              <a:gd name="connsiteY5" fmla="*/ 6350 h 8233228"/>
              <a:gd name="connsiteX0" fmla="*/ 1059542 w 6181271"/>
              <a:gd name="connsiteY0" fmla="*/ 6350 h 7103835"/>
              <a:gd name="connsiteX1" fmla="*/ 5963557 w 6181271"/>
              <a:gd name="connsiteY1" fmla="*/ 2754085 h 7103835"/>
              <a:gd name="connsiteX2" fmla="*/ 6181271 w 6181271"/>
              <a:gd name="connsiteY2" fmla="*/ 7103835 h 7103835"/>
              <a:gd name="connsiteX3" fmla="*/ 0 w 6181271"/>
              <a:gd name="connsiteY3" fmla="*/ 6868885 h 7103835"/>
              <a:gd name="connsiteX4" fmla="*/ 906 w 6181271"/>
              <a:gd name="connsiteY4" fmla="*/ 0 h 7103835"/>
              <a:gd name="connsiteX5" fmla="*/ 1059542 w 6181271"/>
              <a:gd name="connsiteY5" fmla="*/ 6350 h 7103835"/>
              <a:gd name="connsiteX0" fmla="*/ 1059542 w 6152243"/>
              <a:gd name="connsiteY0" fmla="*/ 6350 h 6915149"/>
              <a:gd name="connsiteX1" fmla="*/ 5963557 w 6152243"/>
              <a:gd name="connsiteY1" fmla="*/ 2754085 h 6915149"/>
              <a:gd name="connsiteX2" fmla="*/ 6152243 w 6152243"/>
              <a:gd name="connsiteY2" fmla="*/ 6915149 h 6915149"/>
              <a:gd name="connsiteX3" fmla="*/ 0 w 6152243"/>
              <a:gd name="connsiteY3" fmla="*/ 6868885 h 6915149"/>
              <a:gd name="connsiteX4" fmla="*/ 906 w 6152243"/>
              <a:gd name="connsiteY4" fmla="*/ 0 h 6915149"/>
              <a:gd name="connsiteX5" fmla="*/ 1059542 w 6152243"/>
              <a:gd name="connsiteY5" fmla="*/ 6350 h 6915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2243" h="6915149">
                <a:moveTo>
                  <a:pt x="1059542" y="6350"/>
                </a:moveTo>
                <a:lnTo>
                  <a:pt x="5963557" y="2754085"/>
                </a:lnTo>
                <a:lnTo>
                  <a:pt x="6152243" y="6915149"/>
                </a:lnTo>
                <a:lnTo>
                  <a:pt x="0" y="6868885"/>
                </a:lnTo>
                <a:lnTo>
                  <a:pt x="906" y="0"/>
                </a:lnTo>
                <a:lnTo>
                  <a:pt x="1059542" y="6350"/>
                </a:lnTo>
                <a:close/>
              </a:path>
            </a:pathLst>
          </a:custGeom>
          <a:solidFill>
            <a:srgbClr val="DDF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reeform 28"/>
          <p:cNvSpPr/>
          <p:nvPr/>
        </p:nvSpPr>
        <p:spPr>
          <a:xfrm flipH="1">
            <a:off x="5314951" y="-57151"/>
            <a:ext cx="6226629" cy="6907892"/>
          </a:xfrm>
          <a:custGeom>
            <a:avLst/>
            <a:gdLst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6096000 w 6210300"/>
              <a:gd name="connsiteY1" fmla="*/ 36576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096000"/>
              <a:gd name="connsiteY0" fmla="*/ 514350 h 8915400"/>
              <a:gd name="connsiteX1" fmla="*/ 6096000 w 6096000"/>
              <a:gd name="connsiteY1" fmla="*/ 3657600 h 8915400"/>
              <a:gd name="connsiteX2" fmla="*/ 5962650 w 6096000"/>
              <a:gd name="connsiteY2" fmla="*/ 7886700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1219200 w 6096000"/>
              <a:gd name="connsiteY5" fmla="*/ 514350 h 8915400"/>
              <a:gd name="connsiteX0" fmla="*/ 856343 w 6096000"/>
              <a:gd name="connsiteY0" fmla="*/ 514350 h 8915400"/>
              <a:gd name="connsiteX1" fmla="*/ 6096000 w 6096000"/>
              <a:gd name="connsiteY1" fmla="*/ 3657600 h 8915400"/>
              <a:gd name="connsiteX2" fmla="*/ 5962650 w 6096000"/>
              <a:gd name="connsiteY2" fmla="*/ 7886700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856343 w 6096000"/>
              <a:gd name="connsiteY5" fmla="*/ 514350 h 8915400"/>
              <a:gd name="connsiteX0" fmla="*/ 856343 w 6096000"/>
              <a:gd name="connsiteY0" fmla="*/ 514350 h 8915400"/>
              <a:gd name="connsiteX1" fmla="*/ 6096000 w 6096000"/>
              <a:gd name="connsiteY1" fmla="*/ 3657600 h 8915400"/>
              <a:gd name="connsiteX2" fmla="*/ 5875564 w 6096000"/>
              <a:gd name="connsiteY2" fmla="*/ 7770585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856343 w 6096000"/>
              <a:gd name="connsiteY5" fmla="*/ 514350 h 8915400"/>
              <a:gd name="connsiteX0" fmla="*/ 986972 w 6226629"/>
              <a:gd name="connsiteY0" fmla="*/ 514350 h 7770585"/>
              <a:gd name="connsiteX1" fmla="*/ 6226629 w 6226629"/>
              <a:gd name="connsiteY1" fmla="*/ 3657600 h 7770585"/>
              <a:gd name="connsiteX2" fmla="*/ 6006193 w 6226629"/>
              <a:gd name="connsiteY2" fmla="*/ 7770585 h 7770585"/>
              <a:gd name="connsiteX3" fmla="*/ 0 w 6226629"/>
              <a:gd name="connsiteY3" fmla="*/ 7333343 h 7770585"/>
              <a:gd name="connsiteX4" fmla="*/ 683079 w 6226629"/>
              <a:gd name="connsiteY4" fmla="*/ 0 h 7770585"/>
              <a:gd name="connsiteX5" fmla="*/ 986972 w 6226629"/>
              <a:gd name="connsiteY5" fmla="*/ 514350 h 7770585"/>
              <a:gd name="connsiteX0" fmla="*/ 986972 w 6226629"/>
              <a:gd name="connsiteY0" fmla="*/ 0 h 7256235"/>
              <a:gd name="connsiteX1" fmla="*/ 6226629 w 6226629"/>
              <a:gd name="connsiteY1" fmla="*/ 3143250 h 7256235"/>
              <a:gd name="connsiteX2" fmla="*/ 6006193 w 6226629"/>
              <a:gd name="connsiteY2" fmla="*/ 7256235 h 7256235"/>
              <a:gd name="connsiteX3" fmla="*/ 0 w 6226629"/>
              <a:gd name="connsiteY3" fmla="*/ 6818993 h 7256235"/>
              <a:gd name="connsiteX4" fmla="*/ 29936 w 6226629"/>
              <a:gd name="connsiteY4" fmla="*/ 22679 h 7256235"/>
              <a:gd name="connsiteX5" fmla="*/ 986972 w 6226629"/>
              <a:gd name="connsiteY5" fmla="*/ 0 h 7256235"/>
              <a:gd name="connsiteX0" fmla="*/ 986972 w 6226629"/>
              <a:gd name="connsiteY0" fmla="*/ 0 h 6907892"/>
              <a:gd name="connsiteX1" fmla="*/ 6226629 w 6226629"/>
              <a:gd name="connsiteY1" fmla="*/ 3143250 h 6907892"/>
              <a:gd name="connsiteX2" fmla="*/ 6006193 w 6226629"/>
              <a:gd name="connsiteY2" fmla="*/ 6907892 h 6907892"/>
              <a:gd name="connsiteX3" fmla="*/ 0 w 6226629"/>
              <a:gd name="connsiteY3" fmla="*/ 6818993 h 6907892"/>
              <a:gd name="connsiteX4" fmla="*/ 29936 w 6226629"/>
              <a:gd name="connsiteY4" fmla="*/ 22679 h 6907892"/>
              <a:gd name="connsiteX5" fmla="*/ 986972 w 6226629"/>
              <a:gd name="connsiteY5" fmla="*/ 0 h 6907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226629" h="6907892">
                <a:moveTo>
                  <a:pt x="986972" y="0"/>
                </a:moveTo>
                <a:lnTo>
                  <a:pt x="6226629" y="3143250"/>
                </a:lnTo>
                <a:lnTo>
                  <a:pt x="6006193" y="6907892"/>
                </a:lnTo>
                <a:lnTo>
                  <a:pt x="0" y="6818993"/>
                </a:lnTo>
                <a:lnTo>
                  <a:pt x="29936" y="22679"/>
                </a:lnTo>
                <a:lnTo>
                  <a:pt x="986972" y="0"/>
                </a:lnTo>
                <a:close/>
              </a:path>
            </a:pathLst>
          </a:custGeom>
          <a:solidFill>
            <a:srgbClr val="14CE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Rectangle 14"/>
          <p:cNvSpPr/>
          <p:nvPr/>
        </p:nvSpPr>
        <p:spPr>
          <a:xfrm flipH="1">
            <a:off x="9082970" y="4882706"/>
            <a:ext cx="2458610" cy="1299424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rgbClr val="F6F6F9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 flipH="1">
            <a:off x="650420" y="2702404"/>
            <a:ext cx="3736876" cy="2649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Рост числа МСП среди стартапов до 70%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Увеличение дохода и среднего заработка до 85%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Уровень самореализации и удовлетворения до 90%</a:t>
            </a:r>
          </a:p>
        </p:txBody>
      </p:sp>
      <p:sp>
        <p:nvSpPr>
          <p:cNvPr id="73" name="Rectangle 14"/>
          <p:cNvSpPr/>
          <p:nvPr/>
        </p:nvSpPr>
        <p:spPr>
          <a:xfrm rot="5400000">
            <a:off x="1785095" y="-150030"/>
            <a:ext cx="897318" cy="3166668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882905" y="1230974"/>
            <a:ext cx="4461073" cy="7493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3000"/>
              </a:lnSpc>
            </a:pPr>
            <a:r>
              <a:rPr lang="ru-RU" sz="2400" dirty="0">
                <a:solidFill>
                  <a:srgbClr val="14CE9F"/>
                </a:solidFill>
                <a:latin typeface="Montserrat SemiBold" panose="00000700000000000000" pitchFamily="2" charset="-18"/>
              </a:rPr>
              <a:t>СОЦИАЛЬНО ЗНАЧИМЫЙ ЭФФЕКТ</a:t>
            </a:r>
            <a:endParaRPr lang="en-US" sz="2400" kern="2000" dirty="0">
              <a:solidFill>
                <a:srgbClr val="14CE9F"/>
              </a:solidFill>
              <a:latin typeface="Montserrat SemiBold" panose="00000700000000000000" pitchFamily="2" charset="-18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5575300" y="-57150"/>
            <a:ext cx="6616701" cy="6915151"/>
          </a:xfrm>
          <a:custGeom>
            <a:avLst/>
            <a:gdLst>
              <a:gd name="connsiteX0" fmla="*/ 1650696 w 6616701"/>
              <a:gd name="connsiteY0" fmla="*/ 0 h 6915151"/>
              <a:gd name="connsiteX1" fmla="*/ 0 w 6616701"/>
              <a:gd name="connsiteY1" fmla="*/ 0 h 6915151"/>
              <a:gd name="connsiteX2" fmla="*/ 0 w 6616701"/>
              <a:gd name="connsiteY2" fmla="*/ 6915151 h 6915151"/>
              <a:gd name="connsiteX3" fmla="*/ 6616701 w 6616701"/>
              <a:gd name="connsiteY3" fmla="*/ 6915151 h 6915151"/>
              <a:gd name="connsiteX4" fmla="*/ 6616701 w 6616701"/>
              <a:gd name="connsiteY4" fmla="*/ 3336102 h 691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16701" h="6915151">
                <a:moveTo>
                  <a:pt x="1650696" y="0"/>
                </a:moveTo>
                <a:lnTo>
                  <a:pt x="0" y="0"/>
                </a:lnTo>
                <a:lnTo>
                  <a:pt x="0" y="6915151"/>
                </a:lnTo>
                <a:lnTo>
                  <a:pt x="6616701" y="6915151"/>
                </a:lnTo>
                <a:lnTo>
                  <a:pt x="6616701" y="3336102"/>
                </a:lnTo>
                <a:close/>
              </a:path>
            </a:pathLst>
          </a:custGeom>
        </p:spPr>
      </p:pic>
      <p:sp>
        <p:nvSpPr>
          <p:cNvPr id="21" name="Rectangle 14"/>
          <p:cNvSpPr/>
          <p:nvPr/>
        </p:nvSpPr>
        <p:spPr>
          <a:xfrm flipH="1">
            <a:off x="9072990" y="4882706"/>
            <a:ext cx="2458610" cy="1299424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rgbClr val="F6F6F9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2598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14"/>
          <p:cNvSpPr/>
          <p:nvPr/>
        </p:nvSpPr>
        <p:spPr>
          <a:xfrm>
            <a:off x="695779" y="-41729"/>
            <a:ext cx="6152243" cy="6915149"/>
          </a:xfrm>
          <a:custGeom>
            <a:avLst/>
            <a:gdLst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5992586 w 6210300"/>
              <a:gd name="connsiteY1" fmla="*/ 3436257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088571 w 6210300"/>
              <a:gd name="connsiteY0" fmla="*/ 688522 h 8915400"/>
              <a:gd name="connsiteX1" fmla="*/ 5992586 w 6210300"/>
              <a:gd name="connsiteY1" fmla="*/ 3436257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088571 w 6210300"/>
              <a:gd name="connsiteY5" fmla="*/ 688522 h 8915400"/>
              <a:gd name="connsiteX0" fmla="*/ 1088571 w 6210300"/>
              <a:gd name="connsiteY0" fmla="*/ 6350 h 8233228"/>
              <a:gd name="connsiteX1" fmla="*/ 5992586 w 6210300"/>
              <a:gd name="connsiteY1" fmla="*/ 2754085 h 8233228"/>
              <a:gd name="connsiteX2" fmla="*/ 6210300 w 6210300"/>
              <a:gd name="connsiteY2" fmla="*/ 7103835 h 8233228"/>
              <a:gd name="connsiteX3" fmla="*/ 0 w 6210300"/>
              <a:gd name="connsiteY3" fmla="*/ 8233228 h 8233228"/>
              <a:gd name="connsiteX4" fmla="*/ 29935 w 6210300"/>
              <a:gd name="connsiteY4" fmla="*/ 0 h 8233228"/>
              <a:gd name="connsiteX5" fmla="*/ 1088571 w 6210300"/>
              <a:gd name="connsiteY5" fmla="*/ 6350 h 8233228"/>
              <a:gd name="connsiteX0" fmla="*/ 1059542 w 6181271"/>
              <a:gd name="connsiteY0" fmla="*/ 6350 h 7103835"/>
              <a:gd name="connsiteX1" fmla="*/ 5963557 w 6181271"/>
              <a:gd name="connsiteY1" fmla="*/ 2754085 h 7103835"/>
              <a:gd name="connsiteX2" fmla="*/ 6181271 w 6181271"/>
              <a:gd name="connsiteY2" fmla="*/ 7103835 h 7103835"/>
              <a:gd name="connsiteX3" fmla="*/ 0 w 6181271"/>
              <a:gd name="connsiteY3" fmla="*/ 6868885 h 7103835"/>
              <a:gd name="connsiteX4" fmla="*/ 906 w 6181271"/>
              <a:gd name="connsiteY4" fmla="*/ 0 h 7103835"/>
              <a:gd name="connsiteX5" fmla="*/ 1059542 w 6181271"/>
              <a:gd name="connsiteY5" fmla="*/ 6350 h 7103835"/>
              <a:gd name="connsiteX0" fmla="*/ 1059542 w 6152243"/>
              <a:gd name="connsiteY0" fmla="*/ 6350 h 6915149"/>
              <a:gd name="connsiteX1" fmla="*/ 5963557 w 6152243"/>
              <a:gd name="connsiteY1" fmla="*/ 2754085 h 6915149"/>
              <a:gd name="connsiteX2" fmla="*/ 6152243 w 6152243"/>
              <a:gd name="connsiteY2" fmla="*/ 6915149 h 6915149"/>
              <a:gd name="connsiteX3" fmla="*/ 0 w 6152243"/>
              <a:gd name="connsiteY3" fmla="*/ 6868885 h 6915149"/>
              <a:gd name="connsiteX4" fmla="*/ 906 w 6152243"/>
              <a:gd name="connsiteY4" fmla="*/ 0 h 6915149"/>
              <a:gd name="connsiteX5" fmla="*/ 1059542 w 6152243"/>
              <a:gd name="connsiteY5" fmla="*/ 6350 h 6915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2243" h="6915149">
                <a:moveTo>
                  <a:pt x="1059542" y="6350"/>
                </a:moveTo>
                <a:lnTo>
                  <a:pt x="5963557" y="2754085"/>
                </a:lnTo>
                <a:lnTo>
                  <a:pt x="6152243" y="6915149"/>
                </a:lnTo>
                <a:lnTo>
                  <a:pt x="0" y="6868885"/>
                </a:lnTo>
                <a:lnTo>
                  <a:pt x="906" y="0"/>
                </a:lnTo>
                <a:lnTo>
                  <a:pt x="1059542" y="6350"/>
                </a:lnTo>
                <a:close/>
              </a:path>
            </a:pathLst>
          </a:custGeom>
          <a:solidFill>
            <a:srgbClr val="DDF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reeform 28"/>
          <p:cNvSpPr/>
          <p:nvPr/>
        </p:nvSpPr>
        <p:spPr>
          <a:xfrm>
            <a:off x="650420" y="-57151"/>
            <a:ext cx="6226629" cy="6907892"/>
          </a:xfrm>
          <a:custGeom>
            <a:avLst/>
            <a:gdLst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6096000 w 6210300"/>
              <a:gd name="connsiteY1" fmla="*/ 36576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096000"/>
              <a:gd name="connsiteY0" fmla="*/ 514350 h 8915400"/>
              <a:gd name="connsiteX1" fmla="*/ 6096000 w 6096000"/>
              <a:gd name="connsiteY1" fmla="*/ 3657600 h 8915400"/>
              <a:gd name="connsiteX2" fmla="*/ 5962650 w 6096000"/>
              <a:gd name="connsiteY2" fmla="*/ 7886700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1219200 w 6096000"/>
              <a:gd name="connsiteY5" fmla="*/ 514350 h 8915400"/>
              <a:gd name="connsiteX0" fmla="*/ 856343 w 6096000"/>
              <a:gd name="connsiteY0" fmla="*/ 514350 h 8915400"/>
              <a:gd name="connsiteX1" fmla="*/ 6096000 w 6096000"/>
              <a:gd name="connsiteY1" fmla="*/ 3657600 h 8915400"/>
              <a:gd name="connsiteX2" fmla="*/ 5962650 w 6096000"/>
              <a:gd name="connsiteY2" fmla="*/ 7886700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856343 w 6096000"/>
              <a:gd name="connsiteY5" fmla="*/ 514350 h 8915400"/>
              <a:gd name="connsiteX0" fmla="*/ 856343 w 6096000"/>
              <a:gd name="connsiteY0" fmla="*/ 514350 h 8915400"/>
              <a:gd name="connsiteX1" fmla="*/ 6096000 w 6096000"/>
              <a:gd name="connsiteY1" fmla="*/ 3657600 h 8915400"/>
              <a:gd name="connsiteX2" fmla="*/ 5875564 w 6096000"/>
              <a:gd name="connsiteY2" fmla="*/ 7770585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856343 w 6096000"/>
              <a:gd name="connsiteY5" fmla="*/ 514350 h 8915400"/>
              <a:gd name="connsiteX0" fmla="*/ 986972 w 6226629"/>
              <a:gd name="connsiteY0" fmla="*/ 514350 h 7770585"/>
              <a:gd name="connsiteX1" fmla="*/ 6226629 w 6226629"/>
              <a:gd name="connsiteY1" fmla="*/ 3657600 h 7770585"/>
              <a:gd name="connsiteX2" fmla="*/ 6006193 w 6226629"/>
              <a:gd name="connsiteY2" fmla="*/ 7770585 h 7770585"/>
              <a:gd name="connsiteX3" fmla="*/ 0 w 6226629"/>
              <a:gd name="connsiteY3" fmla="*/ 7333343 h 7770585"/>
              <a:gd name="connsiteX4" fmla="*/ 683079 w 6226629"/>
              <a:gd name="connsiteY4" fmla="*/ 0 h 7770585"/>
              <a:gd name="connsiteX5" fmla="*/ 986972 w 6226629"/>
              <a:gd name="connsiteY5" fmla="*/ 514350 h 7770585"/>
              <a:gd name="connsiteX0" fmla="*/ 986972 w 6226629"/>
              <a:gd name="connsiteY0" fmla="*/ 0 h 7256235"/>
              <a:gd name="connsiteX1" fmla="*/ 6226629 w 6226629"/>
              <a:gd name="connsiteY1" fmla="*/ 3143250 h 7256235"/>
              <a:gd name="connsiteX2" fmla="*/ 6006193 w 6226629"/>
              <a:gd name="connsiteY2" fmla="*/ 7256235 h 7256235"/>
              <a:gd name="connsiteX3" fmla="*/ 0 w 6226629"/>
              <a:gd name="connsiteY3" fmla="*/ 6818993 h 7256235"/>
              <a:gd name="connsiteX4" fmla="*/ 29936 w 6226629"/>
              <a:gd name="connsiteY4" fmla="*/ 22679 h 7256235"/>
              <a:gd name="connsiteX5" fmla="*/ 986972 w 6226629"/>
              <a:gd name="connsiteY5" fmla="*/ 0 h 7256235"/>
              <a:gd name="connsiteX0" fmla="*/ 986972 w 6226629"/>
              <a:gd name="connsiteY0" fmla="*/ 0 h 6907892"/>
              <a:gd name="connsiteX1" fmla="*/ 6226629 w 6226629"/>
              <a:gd name="connsiteY1" fmla="*/ 3143250 h 6907892"/>
              <a:gd name="connsiteX2" fmla="*/ 6006193 w 6226629"/>
              <a:gd name="connsiteY2" fmla="*/ 6907892 h 6907892"/>
              <a:gd name="connsiteX3" fmla="*/ 0 w 6226629"/>
              <a:gd name="connsiteY3" fmla="*/ 6818993 h 6907892"/>
              <a:gd name="connsiteX4" fmla="*/ 29936 w 6226629"/>
              <a:gd name="connsiteY4" fmla="*/ 22679 h 6907892"/>
              <a:gd name="connsiteX5" fmla="*/ 986972 w 6226629"/>
              <a:gd name="connsiteY5" fmla="*/ 0 h 6907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226629" h="6907892">
                <a:moveTo>
                  <a:pt x="986972" y="0"/>
                </a:moveTo>
                <a:lnTo>
                  <a:pt x="6226629" y="3143250"/>
                </a:lnTo>
                <a:lnTo>
                  <a:pt x="6006193" y="6907892"/>
                </a:lnTo>
                <a:lnTo>
                  <a:pt x="0" y="6818993"/>
                </a:lnTo>
                <a:lnTo>
                  <a:pt x="29936" y="22679"/>
                </a:lnTo>
                <a:lnTo>
                  <a:pt x="986972" y="0"/>
                </a:lnTo>
                <a:close/>
              </a:path>
            </a:pathLst>
          </a:custGeom>
          <a:solidFill>
            <a:srgbClr val="14CE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5998" r="-79900"/>
          <a:stretch/>
        </p:blipFill>
        <p:spPr>
          <a:xfrm>
            <a:off x="0" y="-1166068"/>
            <a:ext cx="11944350" cy="8024068"/>
          </a:xfrm>
          <a:prstGeom prst="rtTriangle">
            <a:avLst/>
          </a:prstGeom>
        </p:spPr>
      </p:pic>
      <p:sp>
        <p:nvSpPr>
          <p:cNvPr id="71" name="Rectangle 14"/>
          <p:cNvSpPr/>
          <p:nvPr/>
        </p:nvSpPr>
        <p:spPr>
          <a:xfrm>
            <a:off x="650420" y="4882706"/>
            <a:ext cx="2458610" cy="1299424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rgbClr val="F6F6F9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14"/>
          <p:cNvSpPr/>
          <p:nvPr/>
        </p:nvSpPr>
        <p:spPr>
          <a:xfrm rot="5400000">
            <a:off x="8206217" y="351255"/>
            <a:ext cx="782386" cy="204916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7804704" y="2350423"/>
            <a:ext cx="3736876" cy="20905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Финансирование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Гранты ФСИ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Партнёры (Мой бизнес, ФСИ, Акселераторы, МСП)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Информационная поддержка</a:t>
            </a:r>
            <a:endParaRPr lang="en-US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794724" y="1241633"/>
            <a:ext cx="3736267" cy="268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2400" kern="2000" dirty="0">
                <a:solidFill>
                  <a:srgbClr val="14CE9F"/>
                </a:solidFill>
                <a:latin typeface="Montserrat SemiBold" panose="00000700000000000000" pitchFamily="2" charset="-18"/>
              </a:rPr>
              <a:t>ПОДДЕРЖКА</a:t>
            </a:r>
            <a:endParaRPr lang="en-US" sz="2400" kern="2000" dirty="0">
              <a:solidFill>
                <a:srgbClr val="14CE9F"/>
              </a:solidFill>
              <a:latin typeface="Montserrat SemiBold" panose="00000700000000000000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693059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1E9B7EA-6C4B-8C84-E5DF-6AADE8D8E0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660400"/>
            <a:ext cx="3090227" cy="546100"/>
          </a:xfrm>
        </p:spPr>
        <p:txBody>
          <a:bodyPr>
            <a:normAutofit fontScale="90000"/>
          </a:bodyPr>
          <a:lstStyle/>
          <a:p>
            <a:r>
              <a:rPr lang="ru-RU" dirty="0"/>
              <a:t>Достижения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2697F35-5B34-4C3A-0083-38E924F178D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997" b="4395"/>
          <a:stretch/>
        </p:blipFill>
        <p:spPr>
          <a:xfrm>
            <a:off x="494909" y="1530861"/>
            <a:ext cx="3437076" cy="4633319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  <a:softEdge rad="63500"/>
          </a:effectLst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0FE975F-A3C9-62EC-7E41-F77358D961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6549" y="1530861"/>
            <a:ext cx="1607433" cy="2300240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  <a:softEdge rad="63500"/>
          </a:effectLst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7FEB0AF-BC28-1C3E-F74C-F42BDBC199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73974" y="1487976"/>
            <a:ext cx="1669370" cy="2311662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  <a:softEdge rad="63500"/>
          </a:effectLst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1D1D5C1-4C68-7C69-23B4-40DB657258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76549" y="4430684"/>
            <a:ext cx="2241842" cy="1733496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  <a:softEdge rad="63500"/>
          </a:effectLst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E2CBF02-E678-049A-76B5-5AF90D5300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69657" y="1530860"/>
            <a:ext cx="1618642" cy="2225895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  <a:softEdge rad="63500"/>
          </a:effectLst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EFDCE83A-1BFA-7DDF-AC6A-ACBBAE074B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61446" y="4430684"/>
            <a:ext cx="2908011" cy="1733496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  <a:softEdge rad="63500"/>
          </a:effectLst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801D023D-6C20-BACD-1B9F-CB24777734C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29019" y="1522641"/>
            <a:ext cx="1640437" cy="2316680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  <a:softEdge rad="63500"/>
          </a:effectLst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23354775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Изображение выглядит как дерево, человек, внешний, мужчина&#10;&#10;Автоматически созданное описание">
            <a:extLst>
              <a:ext uri="{FF2B5EF4-FFF2-40B4-BE49-F238E27FC236}">
                <a16:creationId xmlns:a16="http://schemas.microsoft.com/office/drawing/2014/main" id="{B29B28F1-3A76-E8BB-9FAB-FBAD288A88D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119" b="12604"/>
          <a:stretch/>
        </p:blipFill>
        <p:spPr>
          <a:xfrm>
            <a:off x="8424269" y="1333498"/>
            <a:ext cx="1553665" cy="1553658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19" name="Рисунок 18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F29883B8-BB1E-80D9-C3E4-E6683BC64DD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  <a14:imgEffect>
                      <a14:colorTemperature colorTemp="6489"/>
                    </a14:imgEffect>
                    <a14:imgEffect>
                      <a14:saturation sat="108000"/>
                    </a14:imgEffect>
                    <a14:imgEffect>
                      <a14:brightnessContrast bright="10000" contrast="15000"/>
                    </a14:imgEffect>
                  </a14:imgLayer>
                </a14:imgProps>
              </a:ext>
            </a:extLst>
          </a:blip>
          <a:srcRect l="25741" t="22127" r="49390" b="59369"/>
          <a:stretch/>
        </p:blipFill>
        <p:spPr>
          <a:xfrm>
            <a:off x="5308471" y="4433322"/>
            <a:ext cx="1560817" cy="1558461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16" name="Рисунок 15" descr="Изображение выглядит как небо, человек, внешний, желтый&#10;&#10;Автоматически созданное описание">
            <a:extLst>
              <a:ext uri="{FF2B5EF4-FFF2-40B4-BE49-F238E27FC236}">
                <a16:creationId xmlns:a16="http://schemas.microsoft.com/office/drawing/2014/main" id="{E93C3422-789D-58AF-EE0B-244E2CF9DB3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4779" t="19664" r="14754" b="27729"/>
          <a:stretch/>
        </p:blipFill>
        <p:spPr>
          <a:xfrm>
            <a:off x="6862165" y="2892194"/>
            <a:ext cx="1560817" cy="1553634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12" name="Рисунок 11" descr="Изображение выглядит как человек,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A3B3B5E3-1C30-E274-85C3-F1688A807E8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4639" t="9136" r="5426" b="37194"/>
          <a:stretch/>
        </p:blipFill>
        <p:spPr>
          <a:xfrm>
            <a:off x="3768394" y="2887134"/>
            <a:ext cx="1553005" cy="1563755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</p:pic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Команда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 flipH="1">
            <a:off x="658812" y="1800312"/>
            <a:ext cx="3108293" cy="9998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12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Помимо основной команды есть ещё 4 человека, напрямую не участвующих в проекте, но оказывающих ту или иную поддержку.</a:t>
            </a:r>
            <a:endParaRPr lang="en-US" sz="12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58813" y="1498508"/>
            <a:ext cx="3207049" cy="2917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2000"/>
              </a:lnSpc>
            </a:pPr>
            <a:r>
              <a:rPr lang="ru-RU" sz="1600" dirty="0">
                <a:solidFill>
                  <a:srgbClr val="14CE9F"/>
                </a:solidFill>
                <a:latin typeface="Montserrat SemiBold" panose="00000700000000000000" pitchFamily="2" charset="-18"/>
              </a:rPr>
              <a:t>Дополнительная команда</a:t>
            </a:r>
            <a:endParaRPr lang="en-US" sz="1600" kern="2000" dirty="0">
              <a:solidFill>
                <a:srgbClr val="14CE9F"/>
              </a:solidFill>
              <a:latin typeface="Montserrat SemiBold" panose="00000700000000000000" pitchFamily="2" charset="-18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9977935" y="1333502"/>
            <a:ext cx="1553665" cy="1553665"/>
          </a:xfrm>
          <a:prstGeom prst="rect">
            <a:avLst/>
          </a:prstGeom>
          <a:solidFill>
            <a:srgbClr val="BBBA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2300"/>
              </a:lnSpc>
            </a:pPr>
            <a:r>
              <a:rPr lang="ru-RU" sz="1400" b="1" dirty="0">
                <a:solidFill>
                  <a:srgbClr val="5D5B6F"/>
                </a:solidFill>
                <a:latin typeface="+mj-lt"/>
              </a:rPr>
              <a:t>Шадрин Владислав</a:t>
            </a:r>
          </a:p>
          <a:p>
            <a:pPr>
              <a:lnSpc>
                <a:spcPts val="2300"/>
              </a:lnSpc>
            </a:pPr>
            <a:r>
              <a:rPr lang="ru-RU" sz="1200" dirty="0">
                <a:solidFill>
                  <a:srgbClr val="5D5B6F"/>
                </a:solidFill>
                <a:latin typeface="+mj-lt"/>
              </a:rPr>
              <a:t>Программист, бэкенд-разработка</a:t>
            </a:r>
            <a:endParaRPr lang="en-US" sz="1200" dirty="0">
              <a:solidFill>
                <a:srgbClr val="5D5B6F"/>
              </a:solidFill>
              <a:latin typeface="+mj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424269" y="2887166"/>
            <a:ext cx="1553665" cy="1553665"/>
          </a:xfrm>
          <a:prstGeom prst="rect">
            <a:avLst/>
          </a:prstGeom>
          <a:solidFill>
            <a:srgbClr val="DDF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2300"/>
              </a:lnSpc>
            </a:pPr>
            <a:r>
              <a:rPr lang="ru-RU" sz="1400" b="1" dirty="0">
                <a:solidFill>
                  <a:srgbClr val="5D5B6F"/>
                </a:solidFill>
                <a:latin typeface="+mj-lt"/>
              </a:rPr>
              <a:t>Санджиева Александра</a:t>
            </a:r>
          </a:p>
          <a:p>
            <a:pPr>
              <a:lnSpc>
                <a:spcPts val="2300"/>
              </a:lnSpc>
            </a:pPr>
            <a:r>
              <a:rPr lang="ru-RU" sz="1200" dirty="0">
                <a:solidFill>
                  <a:srgbClr val="5D5B6F"/>
                </a:solidFill>
                <a:latin typeface="+mj-lt"/>
              </a:rPr>
              <a:t>Программист, </a:t>
            </a:r>
            <a:r>
              <a:rPr lang="ru-RU" sz="1200" dirty="0" err="1">
                <a:solidFill>
                  <a:srgbClr val="5D5B6F"/>
                </a:solidFill>
                <a:latin typeface="+mj-lt"/>
              </a:rPr>
              <a:t>фронтенд</a:t>
            </a:r>
            <a:r>
              <a:rPr lang="ru-RU" sz="1200" dirty="0">
                <a:solidFill>
                  <a:srgbClr val="5D5B6F"/>
                </a:solidFill>
                <a:latin typeface="+mj-lt"/>
              </a:rPr>
              <a:t>-разработка</a:t>
            </a:r>
            <a:endParaRPr lang="en-US" sz="1200" dirty="0">
              <a:solidFill>
                <a:srgbClr val="5D5B6F"/>
              </a:solidFill>
              <a:latin typeface="+mj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870605" y="4440833"/>
            <a:ext cx="1553665" cy="1553665"/>
          </a:xfrm>
          <a:prstGeom prst="rect">
            <a:avLst/>
          </a:prstGeom>
          <a:solidFill>
            <a:srgbClr val="14CE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ts val="2300"/>
              </a:lnSpc>
            </a:pPr>
            <a:r>
              <a:rPr lang="ru-RU" sz="1400" b="1" dirty="0">
                <a:solidFill>
                  <a:schemeClr val="bg1"/>
                </a:solidFill>
                <a:latin typeface="Gabriela"/>
              </a:rPr>
              <a:t>Кузьмина Анастасия</a:t>
            </a:r>
          </a:p>
          <a:p>
            <a:pPr lvl="0">
              <a:lnSpc>
                <a:spcPts val="2300"/>
              </a:lnSpc>
            </a:pPr>
            <a:r>
              <a:rPr lang="ru-RU" sz="1200" dirty="0">
                <a:solidFill>
                  <a:schemeClr val="bg1"/>
                </a:solidFill>
                <a:latin typeface="Gabriela"/>
              </a:rPr>
              <a:t>Программист, </a:t>
            </a:r>
            <a:r>
              <a:rPr lang="ru-RU" sz="1200" dirty="0" err="1">
                <a:solidFill>
                  <a:schemeClr val="bg1"/>
                </a:solidFill>
                <a:latin typeface="Gabriela"/>
              </a:rPr>
              <a:t>фронтенд</a:t>
            </a:r>
            <a:r>
              <a:rPr lang="ru-RU" sz="1200" dirty="0">
                <a:solidFill>
                  <a:schemeClr val="bg1"/>
                </a:solidFill>
                <a:latin typeface="Gabriela"/>
              </a:rPr>
              <a:t>-разработка</a:t>
            </a:r>
            <a:endParaRPr lang="en-US" sz="1200" dirty="0">
              <a:solidFill>
                <a:schemeClr val="bg1"/>
              </a:solidFill>
              <a:latin typeface="Gabriela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62603" y="4440833"/>
            <a:ext cx="1553665" cy="1553665"/>
          </a:xfrm>
          <a:prstGeom prst="rect">
            <a:avLst/>
          </a:prstGeom>
          <a:solidFill>
            <a:srgbClr val="BBBA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rgbClr val="5D5B6F"/>
              </a:solidFill>
              <a:latin typeface="+mj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319569" y="2887166"/>
            <a:ext cx="1553665" cy="1553665"/>
          </a:xfrm>
          <a:prstGeom prst="rect">
            <a:avLst/>
          </a:prstGeom>
          <a:solidFill>
            <a:srgbClr val="5D5B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5319569" y="1333500"/>
            <a:ext cx="1553665" cy="1553665"/>
          </a:xfrm>
          <a:prstGeom prst="rect">
            <a:avLst/>
          </a:prstGeom>
          <a:solidFill>
            <a:srgbClr val="14CE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2222925" y="2887166"/>
            <a:ext cx="1553665" cy="1553665"/>
          </a:xfrm>
          <a:prstGeom prst="rect">
            <a:avLst/>
          </a:prstGeom>
          <a:solidFill>
            <a:srgbClr val="DDF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ts val="2300"/>
              </a:lnSpc>
            </a:pPr>
            <a:r>
              <a:rPr lang="ru-RU" sz="1400" b="1" dirty="0">
                <a:solidFill>
                  <a:srgbClr val="14CE9F"/>
                </a:solidFill>
                <a:latin typeface="Gabriela"/>
              </a:rPr>
              <a:t>Царькова Мария</a:t>
            </a:r>
          </a:p>
          <a:p>
            <a:pPr lvl="0">
              <a:lnSpc>
                <a:spcPts val="2300"/>
              </a:lnSpc>
            </a:pPr>
            <a:r>
              <a:rPr lang="ru-RU" sz="1200" dirty="0">
                <a:solidFill>
                  <a:srgbClr val="14CE9F"/>
                </a:solidFill>
                <a:latin typeface="Gabriela"/>
              </a:rPr>
              <a:t>Лидер проекта, экономист</a:t>
            </a:r>
            <a:endParaRPr lang="en-US" sz="1200" dirty="0">
              <a:solidFill>
                <a:srgbClr val="14CE9F"/>
              </a:solidFill>
              <a:latin typeface="Gabriela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6766935" y="4503066"/>
            <a:ext cx="205558" cy="205558"/>
          </a:xfrm>
          <a:prstGeom prst="ellipse">
            <a:avLst/>
          </a:prstGeom>
          <a:solidFill>
            <a:srgbClr val="14CE9F"/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/>
          <p:cNvSpPr/>
          <p:nvPr/>
        </p:nvSpPr>
        <p:spPr>
          <a:xfrm>
            <a:off x="3660305" y="2944819"/>
            <a:ext cx="205558" cy="205558"/>
          </a:xfrm>
          <a:prstGeom prst="ellipse">
            <a:avLst/>
          </a:prstGeom>
          <a:solidFill>
            <a:srgbClr val="DDF9B8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/>
          <p:cNvSpPr/>
          <p:nvPr/>
        </p:nvSpPr>
        <p:spPr>
          <a:xfrm>
            <a:off x="8306779" y="2944819"/>
            <a:ext cx="205558" cy="205558"/>
          </a:xfrm>
          <a:prstGeom prst="ellipse">
            <a:avLst/>
          </a:prstGeom>
          <a:solidFill>
            <a:srgbClr val="DDF9B8"/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/>
          <p:cNvSpPr/>
          <p:nvPr/>
        </p:nvSpPr>
        <p:spPr>
          <a:xfrm>
            <a:off x="9875155" y="1383412"/>
            <a:ext cx="205558" cy="205558"/>
          </a:xfrm>
          <a:prstGeom prst="ellipse">
            <a:avLst/>
          </a:prstGeom>
          <a:solidFill>
            <a:srgbClr val="BBBAC6"/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823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7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3" grpId="0"/>
      <p:bldP spid="4" grpId="0" animBg="1"/>
      <p:bldP spid="9" grpId="0" animBg="1"/>
      <p:bldP spid="10" grpId="0" animBg="1"/>
      <p:bldP spid="11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Команда экспертов</a:t>
            </a:r>
            <a:endParaRPr lang="en-US" dirty="0"/>
          </a:p>
        </p:txBody>
      </p:sp>
      <p:pic>
        <p:nvPicPr>
          <p:cNvPr id="7" name="Рисунок 6" descr="Изображение выглядит как человек, одежда, Человеческое лицо, стена&#10;&#10;Автоматически созданное описание">
            <a:extLst>
              <a:ext uri="{FF2B5EF4-FFF2-40B4-BE49-F238E27FC236}">
                <a16:creationId xmlns:a16="http://schemas.microsoft.com/office/drawing/2014/main" id="{4C7550B0-BF23-F6F7-3734-D890B8E3D61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11" y="1544539"/>
            <a:ext cx="2116192" cy="26958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63500"/>
          </a:effectLst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17" name="Рисунок 16" descr="Изображение выглядит как человек, одежда, Человеческое лицо, в помещении&#10;&#10;Автоматически созданное описание">
            <a:extLst>
              <a:ext uri="{FF2B5EF4-FFF2-40B4-BE49-F238E27FC236}">
                <a16:creationId xmlns:a16="http://schemas.microsoft.com/office/drawing/2014/main" id="{8079635F-C8A3-A61A-67BC-F2384F1C57C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35"/>
          <a:stretch/>
        </p:blipFill>
        <p:spPr>
          <a:xfrm>
            <a:off x="4398977" y="1544539"/>
            <a:ext cx="2061871" cy="26958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63500"/>
          </a:effectLst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0EF43F4-BA82-8840-616A-FFDE6030BB21}"/>
              </a:ext>
            </a:extLst>
          </p:cNvPr>
          <p:cNvSpPr txBox="1"/>
          <p:nvPr/>
        </p:nvSpPr>
        <p:spPr>
          <a:xfrm flipH="1">
            <a:off x="658811" y="4685308"/>
            <a:ext cx="2868596" cy="12563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12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Светлана Теплякова</a:t>
            </a:r>
          </a:p>
          <a:p>
            <a:pPr>
              <a:lnSpc>
                <a:spcPts val="2000"/>
              </a:lnSpc>
            </a:pPr>
            <a:r>
              <a:rPr lang="ru-RU" sz="12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Юридическое сопровождение. Сертифицированный и аккредитованный юрист опыт более 20 лет.</a:t>
            </a:r>
            <a:endParaRPr lang="en-US" sz="12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0C0A59-F09C-3F5C-AC40-70541A2BE9A8}"/>
              </a:ext>
            </a:extLst>
          </p:cNvPr>
          <p:cNvSpPr txBox="1"/>
          <p:nvPr/>
        </p:nvSpPr>
        <p:spPr>
          <a:xfrm flipH="1">
            <a:off x="4398977" y="4685308"/>
            <a:ext cx="2868598" cy="7433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12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Людмила </a:t>
            </a:r>
            <a:r>
              <a:rPr lang="ru-RU" sz="1200" b="1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Повстяная</a:t>
            </a:r>
            <a:endParaRPr lang="ru-RU" sz="1200" b="1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  <a:p>
            <a:pPr>
              <a:lnSpc>
                <a:spcPts val="2000"/>
              </a:lnSpc>
            </a:pPr>
            <a:r>
              <a:rPr lang="ru-RU" sz="12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Бухгалтерское и налоговое сопровождение. Опыт более 25 лет.</a:t>
            </a:r>
            <a:endParaRPr lang="en-US" sz="12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pic>
        <p:nvPicPr>
          <p:cNvPr id="30" name="Рисунок 29" descr="Изображение выглядит как Человеческое лицо, человек, губа, одежда&#10;&#10;Автоматически созданное описание">
            <a:extLst>
              <a:ext uri="{FF2B5EF4-FFF2-40B4-BE49-F238E27FC236}">
                <a16:creationId xmlns:a16="http://schemas.microsoft.com/office/drawing/2014/main" id="{65C7A675-A765-A87E-7A92-1B5B3EE9A50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13" r="6513"/>
          <a:stretch/>
        </p:blipFill>
        <p:spPr>
          <a:xfrm>
            <a:off x="8826445" y="1544539"/>
            <a:ext cx="2359302" cy="27126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63500"/>
          </a:effectLst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C81D46B7-0568-20E1-A68D-16E0DD706350}"/>
              </a:ext>
            </a:extLst>
          </p:cNvPr>
          <p:cNvSpPr txBox="1"/>
          <p:nvPr/>
        </p:nvSpPr>
        <p:spPr>
          <a:xfrm flipH="1">
            <a:off x="8826445" y="4685308"/>
            <a:ext cx="2308280" cy="9998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12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Скрыльникова Виктория</a:t>
            </a:r>
          </a:p>
          <a:p>
            <a:pPr>
              <a:lnSpc>
                <a:spcPts val="2000"/>
              </a:lnSpc>
            </a:pPr>
            <a:r>
              <a:rPr lang="ru-RU" sz="1200" b="1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Трекер</a:t>
            </a:r>
            <a:r>
              <a:rPr lang="ru-RU" sz="12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проекта</a:t>
            </a:r>
          </a:p>
          <a:p>
            <a:pPr>
              <a:lnSpc>
                <a:spcPts val="2000"/>
              </a:lnSpc>
            </a:pPr>
            <a:r>
              <a:rPr lang="ru-RU" sz="12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Эксперт Фонда Содействия Инновациям, АСИ, НТИ.</a:t>
            </a:r>
          </a:p>
        </p:txBody>
      </p:sp>
    </p:spTree>
    <p:extLst>
      <p:ext uri="{BB962C8B-B14F-4D97-AF65-F5344CB8AC3E}">
        <p14:creationId xmlns:p14="http://schemas.microsoft.com/office/powerpoint/2010/main" val="1302684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7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7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0" grpId="0"/>
      <p:bldP spid="31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Рисунок 22" descr="Изображение выглядит как человек, внутренний, люди, группа&#10;&#10;Автоматически созданное описание">
            <a:extLst>
              <a:ext uri="{FF2B5EF4-FFF2-40B4-BE49-F238E27FC236}">
                <a16:creationId xmlns:a16="http://schemas.microsoft.com/office/drawing/2014/main" id="{4927C1C5-F748-5E6E-D058-809E93438D2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6">
            <a:alphaModFix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  <a14:imgEffect>
                      <a14:saturation sat="20000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rcRect b="1000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26988" y="0"/>
            <a:ext cx="12245975" cy="6858000"/>
          </a:xfrm>
          <a:prstGeom prst="rect">
            <a:avLst/>
          </a:prstGeom>
          <a:gradFill>
            <a:gsLst>
              <a:gs pos="87000">
                <a:srgbClr val="14CE9F">
                  <a:lumMod val="100000"/>
                  <a:alpha val="88000"/>
                </a:srgbClr>
              </a:gs>
              <a:gs pos="10000">
                <a:srgbClr val="DDF9B8">
                  <a:alpha val="90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pic>
        <p:nvPicPr>
          <p:cNvPr id="8" name="Рисунок 7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CD66234C-64B7-FC39-8841-4A83F1AD20D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3671" y="2257181"/>
            <a:ext cx="10456058" cy="2834606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5838825" y="6267450"/>
            <a:ext cx="285750" cy="285750"/>
            <a:chOff x="5838825" y="6267450"/>
            <a:chExt cx="285750" cy="285750"/>
          </a:xfrm>
        </p:grpSpPr>
        <p:sp>
          <p:nvSpPr>
            <p:cNvPr id="18" name="Oval 17"/>
            <p:cNvSpPr/>
            <p:nvPr/>
          </p:nvSpPr>
          <p:spPr>
            <a:xfrm>
              <a:off x="5838825" y="6267450"/>
              <a:ext cx="285750" cy="285750"/>
            </a:xfrm>
            <a:prstGeom prst="ellipse">
              <a:avLst/>
            </a:prstGeom>
            <a:solidFill>
              <a:srgbClr val="14CE9F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Rectangle 14"/>
            <p:cNvSpPr/>
            <p:nvPr/>
          </p:nvSpPr>
          <p:spPr>
            <a:xfrm rot="18900000">
              <a:off x="5929377" y="6339142"/>
              <a:ext cx="104646" cy="104082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8874896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6"/>
          <p:cNvSpPr/>
          <p:nvPr/>
        </p:nvSpPr>
        <p:spPr>
          <a:xfrm>
            <a:off x="-101600" y="483170"/>
            <a:ext cx="12128500" cy="3907796"/>
          </a:xfrm>
          <a:custGeom>
            <a:avLst/>
            <a:gdLst>
              <a:gd name="connsiteX0" fmla="*/ 0 w 12128500"/>
              <a:gd name="connsiteY0" fmla="*/ 152400 h 3987800"/>
              <a:gd name="connsiteX1" fmla="*/ 177800 w 12128500"/>
              <a:gd name="connsiteY1" fmla="*/ 3987800 h 3987800"/>
              <a:gd name="connsiteX2" fmla="*/ 12128500 w 12128500"/>
              <a:gd name="connsiteY2" fmla="*/ 3835400 h 3987800"/>
              <a:gd name="connsiteX3" fmla="*/ 11874500 w 12128500"/>
              <a:gd name="connsiteY3" fmla="*/ 0 h 3987800"/>
              <a:gd name="connsiteX4" fmla="*/ 0 w 12128500"/>
              <a:gd name="connsiteY4" fmla="*/ 152400 h 398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28500" h="3987800">
                <a:moveTo>
                  <a:pt x="0" y="152400"/>
                </a:moveTo>
                <a:lnTo>
                  <a:pt x="177800" y="3987800"/>
                </a:lnTo>
                <a:lnTo>
                  <a:pt x="12128500" y="3835400"/>
                </a:lnTo>
                <a:lnTo>
                  <a:pt x="11874500" y="0"/>
                </a:lnTo>
                <a:lnTo>
                  <a:pt x="0" y="152400"/>
                </a:lnTo>
                <a:close/>
              </a:path>
            </a:pathLst>
          </a:custGeom>
          <a:solidFill>
            <a:srgbClr val="14CE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9768CC21-13E8-4447-1624-28E9B1F3CE8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" r="-7" b="31990"/>
          <a:stretch/>
        </p:blipFill>
        <p:spPr>
          <a:xfrm>
            <a:off x="0" y="798227"/>
            <a:ext cx="12192000" cy="3527937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58811" y="4482760"/>
            <a:ext cx="10872788" cy="92333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b">
            <a:noAutofit/>
          </a:bodyPr>
          <a:lstStyle/>
          <a:p>
            <a:pPr algn="ctr"/>
            <a:r>
              <a:rPr lang="ru-RU" sz="6000" dirty="0">
                <a:solidFill>
                  <a:srgbClr val="14CE9F"/>
                </a:solidFill>
                <a:latin typeface="Gabriela" panose="00000500000000000000" pitchFamily="2" charset="0"/>
              </a:rPr>
              <a:t>Благодарим за внимание!</a:t>
            </a:r>
            <a:endParaRPr lang="en-US" sz="6000" dirty="0">
              <a:solidFill>
                <a:srgbClr val="14CE9F"/>
              </a:solidFill>
              <a:latin typeface="Gabriela" panose="00000500000000000000" pitchFamily="2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71338" y="5687814"/>
            <a:ext cx="8577513" cy="7433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ru-RU" sz="14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Если Вас заинтересовал проект, Вы можете перейти по</a:t>
            </a:r>
            <a:r>
              <a:rPr lang="en-US" sz="14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QR-</a:t>
            </a:r>
            <a:r>
              <a:rPr lang="ru-RU" sz="14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коду на наш сайт и узнать подробнее. Или связаться с нами: в </a:t>
            </a:r>
            <a:r>
              <a:rPr lang="ru-RU" sz="1400" dirty="0" err="1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телеграм</a:t>
            </a:r>
            <a:r>
              <a:rPr lang="ru-RU" sz="14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r>
              <a:rPr lang="en-US" sz="14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@printseps, </a:t>
            </a:r>
            <a:r>
              <a:rPr lang="ru-RU" sz="14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по эл. почте </a:t>
            </a:r>
            <a:r>
              <a:rPr lang="en-US" sz="14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tsarkovamary@gmail.com</a:t>
            </a:r>
          </a:p>
        </p:txBody>
      </p:sp>
      <p:sp>
        <p:nvSpPr>
          <p:cNvPr id="10" name="Rectangle 9"/>
          <p:cNvSpPr/>
          <p:nvPr/>
        </p:nvSpPr>
        <p:spPr>
          <a:xfrm>
            <a:off x="5529223" y="5490616"/>
            <a:ext cx="1133554" cy="61873"/>
          </a:xfrm>
          <a:prstGeom prst="rect">
            <a:avLst/>
          </a:prstGeom>
          <a:gradFill>
            <a:gsLst>
              <a:gs pos="77000">
                <a:srgbClr val="14CE9F"/>
              </a:gs>
              <a:gs pos="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 </a:t>
            </a:r>
          </a:p>
        </p:txBody>
      </p:sp>
      <p:pic>
        <p:nvPicPr>
          <p:cNvPr id="2" name="Рисунок 1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0EE071DE-E654-69C0-CC99-93C4B5615A9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100000"/>
                    </a14:imgEffect>
                    <a14:imgEffect>
                      <a14:saturation sat="191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rcRect l="433" t="11033" r="80604" b="19950"/>
          <a:stretch/>
        </p:blipFill>
        <p:spPr>
          <a:xfrm>
            <a:off x="11531599" y="3608860"/>
            <a:ext cx="495301" cy="488692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91E67E4-3FE6-295F-A01D-3BA891FA809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810253" y="5552489"/>
            <a:ext cx="1101812" cy="110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908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Изображение выглядит как текст, ноутбук, внутренний, человек&#10;&#10;Автоматически созданное описание">
            <a:extLst>
              <a:ext uri="{FF2B5EF4-FFF2-40B4-BE49-F238E27FC236}">
                <a16:creationId xmlns:a16="http://schemas.microsoft.com/office/drawing/2014/main" id="{4EB4817E-C3D1-0B18-14A8-B5B46C1F3BA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4"/>
          <a:srcRect b="15625"/>
          <a:stretch/>
        </p:blipFill>
        <p:spPr>
          <a:xfrm>
            <a:off x="-7601" y="0"/>
            <a:ext cx="12199601" cy="6862276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7602" y="-10332"/>
            <a:ext cx="12199601" cy="6878663"/>
          </a:xfrm>
          <a:prstGeom prst="rect">
            <a:avLst/>
          </a:prstGeom>
          <a:solidFill>
            <a:srgbClr val="5D5B6F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TextBox 65"/>
          <p:cNvSpPr txBox="1"/>
          <p:nvPr/>
        </p:nvSpPr>
        <p:spPr>
          <a:xfrm>
            <a:off x="2029072" y="2749690"/>
            <a:ext cx="8245652" cy="1384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ts val="2800"/>
              </a:lnSpc>
            </a:pPr>
            <a:r>
              <a:rPr lang="ru-RU" kern="2000" dirty="0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Единый навигатор мер поддержки</a:t>
            </a:r>
          </a:p>
          <a:p>
            <a:pPr algn="ctr">
              <a:lnSpc>
                <a:spcPts val="2800"/>
              </a:lnSpc>
            </a:pPr>
            <a:r>
              <a:rPr lang="ru-RU" kern="2000" dirty="0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Недостаточно знаний и </a:t>
            </a:r>
            <a:r>
              <a:rPr lang="ru-RU" kern="2000" dirty="0" err="1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кросскомпетенций</a:t>
            </a:r>
            <a:endParaRPr lang="ru-RU" kern="2000" dirty="0">
              <a:solidFill>
                <a:srgbClr val="F6F6F9">
                  <a:alpha val="54000"/>
                </a:srgbClr>
              </a:solidFill>
              <a:latin typeface="Montserrat" panose="00000500000000000000" pitchFamily="2" charset="-18"/>
            </a:endParaRPr>
          </a:p>
          <a:p>
            <a:pPr algn="ctr">
              <a:lnSpc>
                <a:spcPts val="2800"/>
              </a:lnSpc>
            </a:pPr>
            <a:r>
              <a:rPr lang="ru-RU" kern="2000" dirty="0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Отсутствие предпринимательских навыков</a:t>
            </a:r>
            <a:br>
              <a:rPr lang="ru-RU" kern="2000" dirty="0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</a:br>
            <a:r>
              <a:rPr lang="ru-RU" kern="2000" dirty="0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Необходимость в сопровождении ООО</a:t>
            </a:r>
            <a:endParaRPr lang="en-US" kern="2000" dirty="0">
              <a:solidFill>
                <a:srgbClr val="F6F6F9">
                  <a:alpha val="54000"/>
                </a:srgbClr>
              </a:solidFill>
              <a:latin typeface="Montserrat" panose="00000500000000000000" pitchFamily="2" charset="-18"/>
            </a:endParaRPr>
          </a:p>
        </p:txBody>
      </p:sp>
      <p:sp>
        <p:nvSpPr>
          <p:cNvPr id="68" name="TextBox 67"/>
          <p:cNvSpPr txBox="1"/>
          <p:nvPr/>
        </p:nvSpPr>
        <p:spPr>
          <a:xfrm flipH="1">
            <a:off x="1638809" y="2160644"/>
            <a:ext cx="773883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000" b="1" dirty="0">
                <a:solidFill>
                  <a:srgbClr val="14CE9F"/>
                </a:solidFill>
                <a:latin typeface="Gabriela" panose="00000500000000000000" pitchFamily="2" charset="0"/>
              </a:rPr>
              <a:t>Проблемы</a:t>
            </a:r>
            <a:endParaRPr lang="en-US" sz="2000" b="1" kern="2000" dirty="0">
              <a:solidFill>
                <a:srgbClr val="14CE9F"/>
              </a:solidFill>
              <a:latin typeface="Gabriela" panose="00000500000000000000" pitchFamily="2" charset="0"/>
            </a:endParaRPr>
          </a:p>
        </p:txBody>
      </p:sp>
      <p:sp>
        <p:nvSpPr>
          <p:cNvPr id="71" name="Rectangle 14"/>
          <p:cNvSpPr/>
          <p:nvPr/>
        </p:nvSpPr>
        <p:spPr>
          <a:xfrm flipH="1" flipV="1">
            <a:off x="3210951" y="2318876"/>
            <a:ext cx="7408907" cy="1903141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Rectangle 14"/>
          <p:cNvSpPr/>
          <p:nvPr/>
        </p:nvSpPr>
        <p:spPr>
          <a:xfrm rot="10800000" flipH="1" flipV="1">
            <a:off x="1638809" y="3044232"/>
            <a:ext cx="4632248" cy="1747409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14"/>
          <p:cNvSpPr/>
          <p:nvPr/>
        </p:nvSpPr>
        <p:spPr>
          <a:xfrm rot="5400000" flipH="1" flipV="1">
            <a:off x="7495555" y="1635172"/>
            <a:ext cx="782386" cy="5139579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8295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" grpId="0"/>
      <p:bldP spid="68" grpId="0"/>
      <p:bldP spid="71" grpId="0" animBg="1"/>
      <p:bldP spid="72" grpId="0" animBg="1"/>
      <p:bldP spid="7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33909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>
                  <a:alpha val="8000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71653" y="5282202"/>
            <a:ext cx="2495876" cy="110799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3600" dirty="0">
                <a:solidFill>
                  <a:schemeClr val="lt1"/>
                </a:solidFill>
                <a:latin typeface="Gabriela" panose="00000500000000000000" pitchFamily="2" charset="0"/>
              </a:rPr>
              <a:t>Целевая</a:t>
            </a:r>
            <a:br>
              <a:rPr lang="ru-RU" sz="3600" dirty="0">
                <a:solidFill>
                  <a:schemeClr val="lt1"/>
                </a:solidFill>
                <a:latin typeface="Gabriela" panose="00000500000000000000" pitchFamily="2" charset="0"/>
              </a:rPr>
            </a:br>
            <a:r>
              <a:rPr lang="ru-RU" sz="3600" dirty="0">
                <a:solidFill>
                  <a:schemeClr val="lt1"/>
                </a:solidFill>
                <a:latin typeface="Gabriela" panose="00000500000000000000" pitchFamily="2" charset="0"/>
              </a:rPr>
              <a:t>аудитория</a:t>
            </a:r>
            <a:endParaRPr lang="en-US" sz="3600" dirty="0">
              <a:solidFill>
                <a:schemeClr val="lt1"/>
              </a:solidFill>
              <a:latin typeface="Gabriela" panose="00000500000000000000" pitchFamily="2" charset="0"/>
            </a:endParaRPr>
          </a:p>
        </p:txBody>
      </p:sp>
      <p:sp>
        <p:nvSpPr>
          <p:cNvPr id="40" name="Rectangle 14"/>
          <p:cNvSpPr/>
          <p:nvPr/>
        </p:nvSpPr>
        <p:spPr>
          <a:xfrm>
            <a:off x="377804" y="5730827"/>
            <a:ext cx="1317240" cy="75205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14"/>
          <p:cNvSpPr/>
          <p:nvPr/>
        </p:nvSpPr>
        <p:spPr>
          <a:xfrm rot="10800000">
            <a:off x="1836938" y="5151360"/>
            <a:ext cx="1302035" cy="70686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ectangle 14"/>
          <p:cNvSpPr/>
          <p:nvPr/>
        </p:nvSpPr>
        <p:spPr>
          <a:xfrm rot="5400000">
            <a:off x="938038" y="4596069"/>
            <a:ext cx="1107996" cy="2030500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" name="TextBox 51"/>
          <p:cNvSpPr txBox="1"/>
          <p:nvPr/>
        </p:nvSpPr>
        <p:spPr>
          <a:xfrm>
            <a:off x="4634622" y="2787689"/>
            <a:ext cx="702596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Студенты 2-4 курс, получившие грант ФСИ</a:t>
            </a:r>
            <a:endParaRPr lang="en-US" sz="2400" kern="2000" dirty="0">
              <a:solidFill>
                <a:srgbClr val="5D5B6F"/>
              </a:solidFill>
              <a:latin typeface="Montserrat Medium" panose="00000600000000000000" pitchFamily="2" charset="-18"/>
            </a:endParaRPr>
          </a:p>
        </p:txBody>
      </p:sp>
      <p:cxnSp>
        <p:nvCxnSpPr>
          <p:cNvPr id="55" name="Straight Connector 54"/>
          <p:cNvCxnSpPr/>
          <p:nvPr/>
        </p:nvCxnSpPr>
        <p:spPr>
          <a:xfrm>
            <a:off x="4044398" y="259773"/>
            <a:ext cx="0" cy="6369627"/>
          </a:xfrm>
          <a:prstGeom prst="line">
            <a:avLst/>
          </a:prstGeom>
          <a:ln>
            <a:solidFill>
              <a:srgbClr val="5D5B6F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55"/>
          <p:cNvSpPr/>
          <p:nvPr/>
        </p:nvSpPr>
        <p:spPr>
          <a:xfrm>
            <a:off x="3917441" y="2871271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Oval 56"/>
          <p:cNvSpPr/>
          <p:nvPr/>
        </p:nvSpPr>
        <p:spPr>
          <a:xfrm>
            <a:off x="3917441" y="3798660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1" name="TextBox 60"/>
          <p:cNvSpPr txBox="1"/>
          <p:nvPr/>
        </p:nvSpPr>
        <p:spPr>
          <a:xfrm>
            <a:off x="4729732" y="3756869"/>
            <a:ext cx="533158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Начинающие предприниматели</a:t>
            </a:r>
            <a:endParaRPr lang="en-US" sz="2400" kern="2000" dirty="0">
              <a:solidFill>
                <a:srgbClr val="5D5B6F"/>
              </a:solidFill>
              <a:latin typeface="Montserrat Medium" panose="00000600000000000000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2861400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34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7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8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34000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11" dur="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12" dur="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2" grpId="0"/>
          <p:bldP spid="61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2" grpId="0"/>
          <p:bldP spid="61" grpId="0"/>
        </p:bldLst>
      </p:timing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Discussion - 8252">
            <a:hlinkClick r:id="" action="ppaction://media"/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2000">
                <a:srgbClr val="14CE9F">
                  <a:alpha val="80000"/>
                </a:srgbClr>
              </a:gs>
              <a:gs pos="10000">
                <a:srgbClr val="DDF9B8">
                  <a:alpha val="80000"/>
                </a:srgbClr>
              </a:gs>
            </a:gsLst>
            <a:lin ang="18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34041" y="5144393"/>
            <a:ext cx="3165931" cy="92333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rtlCol="0" anchor="b">
            <a:spAutoFit/>
          </a:bodyPr>
          <a:lstStyle/>
          <a:p>
            <a:r>
              <a:rPr lang="ru-RU" sz="6000" dirty="0">
                <a:solidFill>
                  <a:schemeClr val="lt1"/>
                </a:solidFill>
                <a:latin typeface="Gabriela" panose="00000500000000000000" pitchFamily="2" charset="0"/>
              </a:rPr>
              <a:t>Продукт</a:t>
            </a:r>
            <a:endParaRPr lang="en-US" sz="6000" dirty="0">
              <a:solidFill>
                <a:schemeClr val="lt1"/>
              </a:solidFill>
              <a:latin typeface="Gabriela" panose="00000500000000000000" pitchFamily="2" charset="0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623889" y="620712"/>
            <a:ext cx="10909299" cy="5580063"/>
            <a:chOff x="-1873250" y="-421223"/>
            <a:chExt cx="2190750" cy="2186523"/>
          </a:xfrm>
        </p:grpSpPr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-1873250" y="-88900"/>
              <a:ext cx="1565275" cy="1854200"/>
            </a:xfrm>
            <a:custGeom>
              <a:avLst/>
              <a:gdLst>
                <a:gd name="T0" fmla="*/ 986 w 986"/>
                <a:gd name="T1" fmla="*/ 1168 h 1168"/>
                <a:gd name="T2" fmla="*/ 0 w 986"/>
                <a:gd name="T3" fmla="*/ 1168 h 1168"/>
                <a:gd name="T4" fmla="*/ 0 w 986"/>
                <a:gd name="T5" fmla="*/ 0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86" h="1168">
                  <a:moveTo>
                    <a:pt x="986" y="1168"/>
                  </a:moveTo>
                  <a:lnTo>
                    <a:pt x="0" y="1168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-60325" y="-416854"/>
              <a:ext cx="377825" cy="1349910"/>
            </a:xfrm>
            <a:custGeom>
              <a:avLst/>
              <a:gdLst>
                <a:gd name="T0" fmla="*/ 0 w 238"/>
                <a:gd name="T1" fmla="*/ 0 h 1172"/>
                <a:gd name="T2" fmla="*/ 238 w 238"/>
                <a:gd name="T3" fmla="*/ 0 h 1172"/>
                <a:gd name="T4" fmla="*/ 238 w 238"/>
                <a:gd name="T5" fmla="*/ 1172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1172">
                  <a:moveTo>
                    <a:pt x="0" y="0"/>
                  </a:moveTo>
                  <a:lnTo>
                    <a:pt x="238" y="0"/>
                  </a:lnTo>
                  <a:lnTo>
                    <a:pt x="238" y="1172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0"/>
            <p:cNvSpPr>
              <a:spLocks/>
            </p:cNvSpPr>
            <p:nvPr/>
          </p:nvSpPr>
          <p:spPr bwMode="auto">
            <a:xfrm>
              <a:off x="-1842005" y="-421223"/>
              <a:ext cx="1714500" cy="1248311"/>
            </a:xfrm>
            <a:custGeom>
              <a:avLst/>
              <a:gdLst>
                <a:gd name="T0" fmla="*/ 0 w 1080"/>
                <a:gd name="T1" fmla="*/ 1065 h 1065"/>
                <a:gd name="T2" fmla="*/ 0 w 1080"/>
                <a:gd name="T3" fmla="*/ 0 h 1065"/>
                <a:gd name="T4" fmla="*/ 1080 w 1080"/>
                <a:gd name="T5" fmla="*/ 0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80" h="1065">
                  <a:moveTo>
                    <a:pt x="0" y="1065"/>
                  </a:moveTo>
                  <a:lnTo>
                    <a:pt x="0" y="0"/>
                  </a:lnTo>
                  <a:lnTo>
                    <a:pt x="1080" y="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1"/>
            <p:cNvSpPr>
              <a:spLocks/>
            </p:cNvSpPr>
            <p:nvPr/>
          </p:nvSpPr>
          <p:spPr bwMode="auto">
            <a:xfrm>
              <a:off x="-60325" y="1146175"/>
              <a:ext cx="377825" cy="619125"/>
            </a:xfrm>
            <a:custGeom>
              <a:avLst/>
              <a:gdLst>
                <a:gd name="T0" fmla="*/ 238 w 238"/>
                <a:gd name="T1" fmla="*/ 0 h 390"/>
                <a:gd name="T2" fmla="*/ 238 w 238"/>
                <a:gd name="T3" fmla="*/ 390 h 390"/>
                <a:gd name="T4" fmla="*/ 0 w 238"/>
                <a:gd name="T5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390">
                  <a:moveTo>
                    <a:pt x="238" y="0"/>
                  </a:moveTo>
                  <a:lnTo>
                    <a:pt x="238" y="390"/>
                  </a:lnTo>
                  <a:lnTo>
                    <a:pt x="0" y="39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0764F06-F087-3D7A-77C2-BF4FB7E2DB58}"/>
              </a:ext>
            </a:extLst>
          </p:cNvPr>
          <p:cNvSpPr txBox="1"/>
          <p:nvPr/>
        </p:nvSpPr>
        <p:spPr>
          <a:xfrm>
            <a:off x="6639339" y="936010"/>
            <a:ext cx="4621164" cy="24929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kern="2000" spc="200" dirty="0">
                <a:solidFill>
                  <a:schemeClr val="bg1"/>
                </a:solidFill>
                <a:latin typeface="Montserrat" panose="00000500000000000000" pitchFamily="2" charset="-18"/>
              </a:rPr>
              <a:t>Компания, которая предоставляет платформенный сервис для начинающих предпринимателей и стартапов по сопровождению предпринимательской деятельности, генерации и тестированию </a:t>
            </a:r>
            <a:r>
              <a:rPr lang="en-US" kern="2000" spc="200" dirty="0">
                <a:solidFill>
                  <a:schemeClr val="bg1"/>
                </a:solidFill>
                <a:latin typeface="Montserrat" panose="00000500000000000000" pitchFamily="2" charset="-18"/>
              </a:rPr>
              <a:t>MVP</a:t>
            </a:r>
            <a:r>
              <a:rPr lang="ru-RU" kern="2000" spc="200" dirty="0">
                <a:solidFill>
                  <a:schemeClr val="bg1"/>
                </a:solidFill>
                <a:latin typeface="Montserrat" panose="00000500000000000000" pitchFamily="2" charset="-18"/>
              </a:rPr>
              <a:t> и мер поддержки</a:t>
            </a:r>
            <a:endParaRPr lang="en-US" kern="2000" spc="200" dirty="0">
              <a:solidFill>
                <a:schemeClr val="bg1"/>
              </a:solidFill>
              <a:latin typeface="Montserrat" panose="00000500000000000000" pitchFamily="2" charset="-18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BA678417-AA05-517F-530E-843DC5FB030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87485" y="3505199"/>
            <a:ext cx="5221105" cy="256252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noFill/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10DBA42-90C6-7BA7-8CB4-B9719667A0DF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5223" r="5580"/>
          <a:stretch/>
        </p:blipFill>
        <p:spPr>
          <a:xfrm>
            <a:off x="1029563" y="908063"/>
            <a:ext cx="5337091" cy="287004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6350" stA="50000" endA="300" endPos="38500" dist="508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551567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601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1848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14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" fill="hold">
                      <p:stCondLst>
                        <p:cond delay="0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8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  <p:bldLst>
      <p:bldP spid="19" grpId="0"/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Изображение выглядит как текст, компьютер, стол, рабочий стол&#10;&#10;Автоматически созданное описание">
            <a:extLst>
              <a:ext uri="{FF2B5EF4-FFF2-40B4-BE49-F238E27FC236}">
                <a16:creationId xmlns:a16="http://schemas.microsoft.com/office/drawing/2014/main" id="{53046207-AD7E-D4EA-64BC-42406EA2A80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4"/>
          <a:srcRect b="6486"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5" name="Rectangle 8">
            <a:extLst>
              <a:ext uri="{FF2B5EF4-FFF2-40B4-BE49-F238E27FC236}">
                <a16:creationId xmlns:a16="http://schemas.microsoft.com/office/drawing/2014/main" id="{DFF8CC3D-0C30-2441-102E-D4B2912E85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D5B6F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1113441" y="811584"/>
            <a:ext cx="4767331" cy="92333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rtlCol="0" anchor="b">
            <a:spAutoFit/>
          </a:bodyPr>
          <a:lstStyle/>
          <a:p>
            <a:r>
              <a:rPr lang="ru-RU" sz="6000" dirty="0">
                <a:solidFill>
                  <a:schemeClr val="lt1"/>
                </a:solidFill>
                <a:latin typeface="Gabriela" panose="00000500000000000000" pitchFamily="2" charset="0"/>
              </a:rPr>
              <a:t>Конкуренты</a:t>
            </a:r>
            <a:endParaRPr lang="en-US" sz="6000" dirty="0">
              <a:solidFill>
                <a:schemeClr val="lt1"/>
              </a:solidFill>
              <a:latin typeface="Gabriela" panose="00000500000000000000" pitchFamily="2" charset="0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623889" y="620712"/>
            <a:ext cx="10909299" cy="5580063"/>
            <a:chOff x="-1873250" y="-421223"/>
            <a:chExt cx="2190750" cy="2186523"/>
          </a:xfrm>
        </p:grpSpPr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-1873250" y="-88900"/>
              <a:ext cx="1565275" cy="1854200"/>
            </a:xfrm>
            <a:custGeom>
              <a:avLst/>
              <a:gdLst>
                <a:gd name="T0" fmla="*/ 986 w 986"/>
                <a:gd name="T1" fmla="*/ 1168 h 1168"/>
                <a:gd name="T2" fmla="*/ 0 w 986"/>
                <a:gd name="T3" fmla="*/ 1168 h 1168"/>
                <a:gd name="T4" fmla="*/ 0 w 986"/>
                <a:gd name="T5" fmla="*/ 0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86" h="1168">
                  <a:moveTo>
                    <a:pt x="986" y="1168"/>
                  </a:moveTo>
                  <a:lnTo>
                    <a:pt x="0" y="1168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-60325" y="-416854"/>
              <a:ext cx="377825" cy="1349910"/>
            </a:xfrm>
            <a:custGeom>
              <a:avLst/>
              <a:gdLst>
                <a:gd name="T0" fmla="*/ 0 w 238"/>
                <a:gd name="T1" fmla="*/ 0 h 1172"/>
                <a:gd name="T2" fmla="*/ 238 w 238"/>
                <a:gd name="T3" fmla="*/ 0 h 1172"/>
                <a:gd name="T4" fmla="*/ 238 w 238"/>
                <a:gd name="T5" fmla="*/ 1172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1172">
                  <a:moveTo>
                    <a:pt x="0" y="0"/>
                  </a:moveTo>
                  <a:lnTo>
                    <a:pt x="238" y="0"/>
                  </a:lnTo>
                  <a:lnTo>
                    <a:pt x="238" y="1172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0"/>
            <p:cNvSpPr>
              <a:spLocks/>
            </p:cNvSpPr>
            <p:nvPr/>
          </p:nvSpPr>
          <p:spPr bwMode="auto">
            <a:xfrm>
              <a:off x="-1842005" y="-421223"/>
              <a:ext cx="1714500" cy="1248311"/>
            </a:xfrm>
            <a:custGeom>
              <a:avLst/>
              <a:gdLst>
                <a:gd name="T0" fmla="*/ 0 w 1080"/>
                <a:gd name="T1" fmla="*/ 1065 h 1065"/>
                <a:gd name="T2" fmla="*/ 0 w 1080"/>
                <a:gd name="T3" fmla="*/ 0 h 1065"/>
                <a:gd name="T4" fmla="*/ 1080 w 1080"/>
                <a:gd name="T5" fmla="*/ 0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80" h="1065">
                  <a:moveTo>
                    <a:pt x="0" y="1065"/>
                  </a:moveTo>
                  <a:lnTo>
                    <a:pt x="0" y="0"/>
                  </a:lnTo>
                  <a:lnTo>
                    <a:pt x="1080" y="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1"/>
            <p:cNvSpPr>
              <a:spLocks/>
            </p:cNvSpPr>
            <p:nvPr/>
          </p:nvSpPr>
          <p:spPr bwMode="auto">
            <a:xfrm>
              <a:off x="-60325" y="1146175"/>
              <a:ext cx="377825" cy="619125"/>
            </a:xfrm>
            <a:custGeom>
              <a:avLst/>
              <a:gdLst>
                <a:gd name="T0" fmla="*/ 238 w 238"/>
                <a:gd name="T1" fmla="*/ 0 h 390"/>
                <a:gd name="T2" fmla="*/ 238 w 238"/>
                <a:gd name="T3" fmla="*/ 390 h 390"/>
                <a:gd name="T4" fmla="*/ 0 w 238"/>
                <a:gd name="T5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390">
                  <a:moveTo>
                    <a:pt x="238" y="0"/>
                  </a:moveTo>
                  <a:lnTo>
                    <a:pt x="238" y="390"/>
                  </a:lnTo>
                  <a:lnTo>
                    <a:pt x="0" y="39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E5EC66C-0935-605A-2C48-555F016D435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24729" y="1051202"/>
            <a:ext cx="3431179" cy="1631246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C48AD89D-C3C2-D285-A11D-491E4816F69E}"/>
              </a:ext>
            </a:extLst>
          </p:cNvPr>
          <p:cNvSpPr txBox="1"/>
          <p:nvPr/>
        </p:nvSpPr>
        <p:spPr>
          <a:xfrm>
            <a:off x="1081127" y="1925786"/>
            <a:ext cx="4958839" cy="41081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kern="2000" spc="200" dirty="0">
                <a:solidFill>
                  <a:schemeClr val="bg1"/>
                </a:solidFill>
                <a:latin typeface="Montserrat" panose="00000500000000000000" pitchFamily="2" charset="-18"/>
              </a:rPr>
              <a:t>Вся информация в одном ресурсе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kern="2000" spc="200" dirty="0">
                <a:solidFill>
                  <a:schemeClr val="bg1"/>
                </a:solidFill>
                <a:latin typeface="Montserrat" panose="00000500000000000000" pitchFamily="2" charset="-18"/>
              </a:rPr>
              <a:t>Профессиональная поддержка специалистов с опытом более 20 лет (бух, нал, юр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kern="2000" spc="200" dirty="0">
                <a:solidFill>
                  <a:schemeClr val="bg1"/>
                </a:solidFill>
                <a:latin typeface="Montserrat" panose="00000500000000000000" pitchFamily="2" charset="-18"/>
              </a:rPr>
              <a:t>Генерация и тестирование MVP с помощью цифровых технологий и ИИ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kern="2000" spc="200" dirty="0">
                <a:solidFill>
                  <a:schemeClr val="bg1"/>
                </a:solidFill>
                <a:latin typeface="Montserrat" panose="00000500000000000000" pitchFamily="2" charset="-18"/>
              </a:rPr>
              <a:t>Возможность найти специалиста в команду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DACD8F0-E30D-0BC2-F47E-E323B69E1F35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1" t="2378" r="3863"/>
          <a:stretch/>
        </p:blipFill>
        <p:spPr>
          <a:xfrm>
            <a:off x="9009712" y="4292889"/>
            <a:ext cx="2173918" cy="1807156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47EA8C2-548E-0763-9300-7D2E3E8D6CC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9712" y="1971723"/>
            <a:ext cx="2173919" cy="1884883"/>
          </a:xfrm>
          <a:prstGeom prst="rect">
            <a:avLst/>
          </a:prstGeom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E8516C5-3B8F-7729-0D0B-F047B6B16591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7" t="2629" b="3409"/>
          <a:stretch/>
        </p:blipFill>
        <p:spPr>
          <a:xfrm>
            <a:off x="6421837" y="3128950"/>
            <a:ext cx="2152258" cy="1807156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00144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 descr="Изображение выглядит как обеденный стол&#10;&#10;Автоматически созданное описание">
            <a:extLst>
              <a:ext uri="{FF2B5EF4-FFF2-40B4-BE49-F238E27FC236}">
                <a16:creationId xmlns:a16="http://schemas.microsoft.com/office/drawing/2014/main" id="{BEC41956-AE7F-C068-DBA1-E98CF3B1166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4"/>
          <a:srcRect l="3981" r="5106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5" name="Rectangle 8">
            <a:extLst>
              <a:ext uri="{FF2B5EF4-FFF2-40B4-BE49-F238E27FC236}">
                <a16:creationId xmlns:a16="http://schemas.microsoft.com/office/drawing/2014/main" id="{DFF8CC3D-0C30-2441-102E-D4B2912E85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rgbClr val="5D5B6F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" name="Group 19"/>
          <p:cNvGrpSpPr/>
          <p:nvPr/>
        </p:nvGrpSpPr>
        <p:grpSpPr>
          <a:xfrm>
            <a:off x="623889" y="620712"/>
            <a:ext cx="10909299" cy="5580063"/>
            <a:chOff x="-1873250" y="-421223"/>
            <a:chExt cx="2190750" cy="2186523"/>
          </a:xfrm>
        </p:grpSpPr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-1873250" y="-88900"/>
              <a:ext cx="1565275" cy="1854200"/>
            </a:xfrm>
            <a:custGeom>
              <a:avLst/>
              <a:gdLst>
                <a:gd name="T0" fmla="*/ 986 w 986"/>
                <a:gd name="T1" fmla="*/ 1168 h 1168"/>
                <a:gd name="T2" fmla="*/ 0 w 986"/>
                <a:gd name="T3" fmla="*/ 1168 h 1168"/>
                <a:gd name="T4" fmla="*/ 0 w 986"/>
                <a:gd name="T5" fmla="*/ 0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86" h="1168">
                  <a:moveTo>
                    <a:pt x="986" y="1168"/>
                  </a:moveTo>
                  <a:lnTo>
                    <a:pt x="0" y="1168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-60325" y="-416854"/>
              <a:ext cx="377825" cy="1349910"/>
            </a:xfrm>
            <a:custGeom>
              <a:avLst/>
              <a:gdLst>
                <a:gd name="T0" fmla="*/ 0 w 238"/>
                <a:gd name="T1" fmla="*/ 0 h 1172"/>
                <a:gd name="T2" fmla="*/ 238 w 238"/>
                <a:gd name="T3" fmla="*/ 0 h 1172"/>
                <a:gd name="T4" fmla="*/ 238 w 238"/>
                <a:gd name="T5" fmla="*/ 1172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1172">
                  <a:moveTo>
                    <a:pt x="0" y="0"/>
                  </a:moveTo>
                  <a:lnTo>
                    <a:pt x="238" y="0"/>
                  </a:lnTo>
                  <a:lnTo>
                    <a:pt x="238" y="1172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0"/>
            <p:cNvSpPr>
              <a:spLocks/>
            </p:cNvSpPr>
            <p:nvPr/>
          </p:nvSpPr>
          <p:spPr bwMode="auto">
            <a:xfrm>
              <a:off x="-1842005" y="-421223"/>
              <a:ext cx="1714500" cy="1248311"/>
            </a:xfrm>
            <a:custGeom>
              <a:avLst/>
              <a:gdLst>
                <a:gd name="T0" fmla="*/ 0 w 1080"/>
                <a:gd name="T1" fmla="*/ 1065 h 1065"/>
                <a:gd name="T2" fmla="*/ 0 w 1080"/>
                <a:gd name="T3" fmla="*/ 0 h 1065"/>
                <a:gd name="T4" fmla="*/ 1080 w 1080"/>
                <a:gd name="T5" fmla="*/ 0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80" h="1065">
                  <a:moveTo>
                    <a:pt x="0" y="1065"/>
                  </a:moveTo>
                  <a:lnTo>
                    <a:pt x="0" y="0"/>
                  </a:lnTo>
                  <a:lnTo>
                    <a:pt x="1080" y="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1"/>
            <p:cNvSpPr>
              <a:spLocks/>
            </p:cNvSpPr>
            <p:nvPr/>
          </p:nvSpPr>
          <p:spPr bwMode="auto">
            <a:xfrm>
              <a:off x="-60325" y="1146175"/>
              <a:ext cx="377825" cy="619125"/>
            </a:xfrm>
            <a:custGeom>
              <a:avLst/>
              <a:gdLst>
                <a:gd name="T0" fmla="*/ 238 w 238"/>
                <a:gd name="T1" fmla="*/ 0 h 390"/>
                <a:gd name="T2" fmla="*/ 238 w 238"/>
                <a:gd name="T3" fmla="*/ 390 h 390"/>
                <a:gd name="T4" fmla="*/ 0 w 238"/>
                <a:gd name="T5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390">
                  <a:moveTo>
                    <a:pt x="238" y="0"/>
                  </a:moveTo>
                  <a:lnTo>
                    <a:pt x="238" y="390"/>
                  </a:lnTo>
                  <a:lnTo>
                    <a:pt x="0" y="39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12" name="Рисунок 11" descr="Изображение выглядит как текст, снимок экрана, электроника&#10;&#10;Автоматически созданное описание">
            <a:extLst>
              <a:ext uri="{FF2B5EF4-FFF2-40B4-BE49-F238E27FC236}">
                <a16:creationId xmlns:a16="http://schemas.microsoft.com/office/drawing/2014/main" id="{3E9C5689-092F-F5F6-E97D-417A6BE2010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0991" y="2434489"/>
            <a:ext cx="2019855" cy="36640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Рисунок 13" descr="Изображение выглядит как текст, электроника,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F26E60B2-B042-D3A6-E621-713A76F7FE2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07312" y="2434489"/>
            <a:ext cx="2066195" cy="36640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CF402B11-43FE-FC06-CD16-2D6E48E5AAD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5687"/>
          <a:stretch/>
        </p:blipFill>
        <p:spPr>
          <a:xfrm>
            <a:off x="6511774" y="935976"/>
            <a:ext cx="4769413" cy="358989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  <a:reflection blurRad="12700" stA="38000" endPos="28000" dist="5000" dir="5400000" sy="-100000" algn="bl" rotWithShape="0"/>
          </a:effectLst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03756A9D-CB00-D16E-6E37-2D332F90781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90897" y="3233018"/>
            <a:ext cx="5098211" cy="286552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3DF523C-A6D4-A372-E2E3-51399558FA86}"/>
              </a:ext>
            </a:extLst>
          </p:cNvPr>
          <p:cNvSpPr txBox="1"/>
          <p:nvPr/>
        </p:nvSpPr>
        <p:spPr>
          <a:xfrm>
            <a:off x="1141287" y="834368"/>
            <a:ext cx="2495680" cy="92333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b">
            <a:spAutoFit/>
          </a:bodyPr>
          <a:lstStyle/>
          <a:p>
            <a:r>
              <a:rPr lang="en-US" sz="6000" dirty="0">
                <a:solidFill>
                  <a:schemeClr val="lt1"/>
                </a:solidFill>
                <a:latin typeface="Gabriela" panose="00000500000000000000" pitchFamily="2" charset="0"/>
              </a:rPr>
              <a:t>MVP</a:t>
            </a:r>
            <a:endParaRPr lang="ru-RU" sz="3600" dirty="0">
              <a:solidFill>
                <a:schemeClr val="lt1"/>
              </a:solidFill>
              <a:latin typeface="Gabriela" panose="00000500000000000000" pitchFamily="2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B477059-4A6F-DEBE-BCEC-2B6A66699F3C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231" t="39583" r="25457" b="35001"/>
          <a:stretch/>
        </p:blipFill>
        <p:spPr>
          <a:xfrm>
            <a:off x="4968709" y="928756"/>
            <a:ext cx="1208528" cy="1195377"/>
          </a:xfrm>
          <a:prstGeom prst="roundRect">
            <a:avLst>
              <a:gd name="adj" fmla="val 5511"/>
            </a:avLst>
          </a:prstGeom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/>
            <a:contourClr>
              <a:srgbClr val="969696"/>
            </a:contourClr>
          </a:sp3d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9D888B7-E0EB-E2C6-1E1E-67E4EF5C92E5}"/>
              </a:ext>
            </a:extLst>
          </p:cNvPr>
          <p:cNvSpPr txBox="1"/>
          <p:nvPr/>
        </p:nvSpPr>
        <p:spPr>
          <a:xfrm>
            <a:off x="9651727" y="1161032"/>
            <a:ext cx="1094204" cy="30777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b">
            <a:spAutoFit/>
          </a:bodyPr>
          <a:lstStyle/>
          <a:p>
            <a:pPr algn="r"/>
            <a:r>
              <a:rPr lang="ru-RU" sz="2000" dirty="0">
                <a:latin typeface="Gabriela" panose="00000500000000000000" pitchFamily="2" charset="0"/>
              </a:rPr>
              <a:t>Сайт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EEA37A-280E-1DE4-139E-A9D1DE47361F}"/>
              </a:ext>
            </a:extLst>
          </p:cNvPr>
          <p:cNvSpPr txBox="1"/>
          <p:nvPr/>
        </p:nvSpPr>
        <p:spPr>
          <a:xfrm>
            <a:off x="5025871" y="2205803"/>
            <a:ext cx="1094204" cy="30777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Gabriela" panose="00000500000000000000" pitchFamily="2" charset="0"/>
              </a:rPr>
              <a:t>Чат-бот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C1EB61C-08DC-481C-09E5-333E0C8D79F9}"/>
              </a:ext>
            </a:extLst>
          </p:cNvPr>
          <p:cNvSpPr txBox="1"/>
          <p:nvPr/>
        </p:nvSpPr>
        <p:spPr>
          <a:xfrm>
            <a:off x="1141287" y="2002903"/>
            <a:ext cx="3518044" cy="30777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2000" dirty="0">
                <a:solidFill>
                  <a:schemeClr val="lt1"/>
                </a:solidFill>
                <a:latin typeface="Gabriela" panose="00000500000000000000" pitchFamily="2" charset="0"/>
              </a:rPr>
              <a:t>Мобильное приложение</a:t>
            </a:r>
          </a:p>
        </p:txBody>
      </p:sp>
    </p:spTree>
    <p:extLst>
      <p:ext uri="{BB962C8B-B14F-4D97-AF65-F5344CB8AC3E}">
        <p14:creationId xmlns:p14="http://schemas.microsoft.com/office/powerpoint/2010/main" val="410415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8" grpId="0"/>
      <p:bldP spid="10" grpId="0"/>
      <p:bldP spid="1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>
          <a:xfrm>
            <a:off x="654475" y="2392247"/>
            <a:ext cx="11095037" cy="4465753"/>
          </a:xfrm>
          <a:prstGeom prst="rect">
            <a:avLst/>
          </a:prstGeom>
          <a:gradFill flip="none" rotWithShape="1">
            <a:gsLst>
              <a:gs pos="0">
                <a:srgbClr val="F6F6F9">
                  <a:alpha val="0"/>
                </a:srgbClr>
              </a:gs>
              <a:gs pos="62000">
                <a:srgbClr val="F6F6F9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0" y="3588327"/>
            <a:ext cx="11531600" cy="330018"/>
          </a:xfrm>
          <a:prstGeom prst="rect">
            <a:avLst/>
          </a:prstGeom>
          <a:solidFill>
            <a:srgbClr val="14CE9F">
              <a:alpha val="3686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marL="269875"/>
            <a:endParaRPr lang="en-US" dirty="0">
              <a:solidFill>
                <a:srgbClr val="DDF9B8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7962436" y="1551775"/>
            <a:ext cx="2417266" cy="2417266"/>
          </a:xfrm>
          <a:prstGeom prst="ellipse">
            <a:avLst/>
          </a:prstGeom>
          <a:noFill/>
          <a:ln w="60325">
            <a:solidFill>
              <a:srgbClr val="14CE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Box 30"/>
          <p:cNvSpPr txBox="1"/>
          <p:nvPr/>
        </p:nvSpPr>
        <p:spPr>
          <a:xfrm>
            <a:off x="876439" y="5924574"/>
            <a:ext cx="10471096" cy="7386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105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Источники:</a:t>
            </a:r>
          </a:p>
          <a:p>
            <a:pPr>
              <a:lnSpc>
                <a:spcPts val="2000"/>
              </a:lnSpc>
            </a:pPr>
            <a:r>
              <a:rPr lang="ru-RU" sz="105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Рынок бухгалтерских услуг: российские тренды и значимые изменения в бухгалтерском учете – АКГ «Деловой профиль» (delprof.ru)</a:t>
            </a:r>
          </a:p>
          <a:p>
            <a:pPr>
              <a:lnSpc>
                <a:spcPts val="2000"/>
              </a:lnSpc>
            </a:pPr>
            <a:r>
              <a:rPr lang="ru-RU" sz="105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Анализ российского рынка аутсорсинга бухгалтерских услуг: итоги 2020 г., прогноз до 2023 г. :: РБК Магазин исследований (rbc.ru)</a:t>
            </a:r>
            <a:endParaRPr lang="en-US" sz="105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442488" y="4154003"/>
            <a:ext cx="3057000" cy="8707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ru-RU" sz="1400" dirty="0">
                <a:solidFill>
                  <a:srgbClr val="5D5B6F"/>
                </a:solidFill>
                <a:latin typeface="Montserrat Light" panose="00000400000000000000" pitchFamily="2" charset="-18"/>
              </a:rPr>
              <a:t>2,5 трлн. руб.  (Бухгалтерский консалтинг сопровождения крупных компаний с выручкой) </a:t>
            </a:r>
            <a:endParaRPr lang="en-US" sz="1400" dirty="0">
              <a:solidFill>
                <a:srgbClr val="5D5B6F"/>
              </a:solidFill>
              <a:latin typeface="Montserrat Light" panose="00000400000000000000" pitchFamily="2" charset="-18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955902" y="4130827"/>
            <a:ext cx="3619795" cy="9907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ru-RU" sz="1400" dirty="0">
                <a:solidFill>
                  <a:srgbClr val="5D5B6F"/>
                </a:solidFill>
                <a:latin typeface="Montserrat Light" panose="00000400000000000000" pitchFamily="2" charset="-18"/>
              </a:rPr>
              <a:t>243,4 млрд. руб. (</a:t>
            </a:r>
            <a:r>
              <a:rPr lang="ru-RU" sz="1400" dirty="0" err="1">
                <a:solidFill>
                  <a:srgbClr val="5D5B6F"/>
                </a:solidFill>
                <a:latin typeface="Montserrat Light" panose="00000400000000000000" pitchFamily="2" charset="-18"/>
              </a:rPr>
              <a:t>NeoAnalytics</a:t>
            </a:r>
            <a:r>
              <a:rPr lang="ru-RU" sz="1400" dirty="0">
                <a:solidFill>
                  <a:srgbClr val="5D5B6F"/>
                </a:solidFill>
                <a:latin typeface="Montserrat Light" panose="00000400000000000000" pitchFamily="2" charset="-18"/>
              </a:rPr>
              <a:t> Российский рынок аутсорсинга бухгалтерских услуг) ООО с 0 выручкой </a:t>
            </a:r>
            <a:endParaRPr lang="en-US" sz="1400" dirty="0">
              <a:solidFill>
                <a:srgbClr val="5D5B6F"/>
              </a:solidFill>
              <a:latin typeface="Montserrat Light" panose="00000400000000000000" pitchFamily="2" charset="-18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7482447" y="4078195"/>
            <a:ext cx="3816818" cy="10061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ru-RU" sz="1400" dirty="0">
                <a:solidFill>
                  <a:srgbClr val="5D5B6F"/>
                </a:solidFill>
                <a:latin typeface="Montserrat Light" panose="00000400000000000000" pitchFamily="2" charset="-18"/>
              </a:rPr>
              <a:t>120 000 (10 000*12 месяц) *2000 = 240 млн. руб. начинающих ООО после получения гранта ФСИ Студенческий стартап) </a:t>
            </a:r>
            <a:endParaRPr lang="en-US" sz="1400" dirty="0">
              <a:solidFill>
                <a:srgbClr val="5D5B6F"/>
              </a:solidFill>
              <a:latin typeface="Montserrat Light" panose="00000400000000000000" pitchFamily="2" charset="-18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250112" y="-115899"/>
            <a:ext cx="4281487" cy="1803400"/>
          </a:xfrm>
        </p:spPr>
        <p:txBody>
          <a:bodyPr/>
          <a:lstStyle/>
          <a:p>
            <a:r>
              <a:rPr lang="ru-RU" dirty="0">
                <a:latin typeface="Gabriela" panose="00000500000000000000" pitchFamily="2" charset="0"/>
              </a:rPr>
              <a:t>Рынок 1</a:t>
            </a:r>
            <a:endParaRPr lang="en-US" dirty="0">
              <a:latin typeface="Gabriela" panose="00000500000000000000" pitchFamily="2" charset="0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4327332" y="1551763"/>
            <a:ext cx="2417266" cy="2417266"/>
          </a:xfrm>
          <a:prstGeom prst="ellipse">
            <a:avLst/>
          </a:prstGeom>
          <a:noFill/>
          <a:ln w="60325">
            <a:solidFill>
              <a:srgbClr val="14CE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Oval 44"/>
          <p:cNvSpPr/>
          <p:nvPr/>
        </p:nvSpPr>
        <p:spPr>
          <a:xfrm>
            <a:off x="654475" y="1552011"/>
            <a:ext cx="2417266" cy="2417266"/>
          </a:xfrm>
          <a:prstGeom prst="ellipse">
            <a:avLst/>
          </a:prstGeom>
          <a:noFill/>
          <a:ln w="60325">
            <a:solidFill>
              <a:srgbClr val="14CE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18">
            <a:extLst>
              <a:ext uri="{FF2B5EF4-FFF2-40B4-BE49-F238E27FC236}">
                <a16:creationId xmlns:a16="http://schemas.microsoft.com/office/drawing/2014/main" id="{EE0F24B9-2B50-FB95-E150-AFC9A70BFAEF}"/>
              </a:ext>
            </a:extLst>
          </p:cNvPr>
          <p:cNvSpPr/>
          <p:nvPr/>
        </p:nvSpPr>
        <p:spPr>
          <a:xfrm>
            <a:off x="876439" y="2595387"/>
            <a:ext cx="1632040" cy="330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algn="ctr"/>
            <a:r>
              <a:rPr lang="en-US" sz="4000" b="1" dirty="0">
                <a:solidFill>
                  <a:srgbClr val="14CE9F"/>
                </a:solidFill>
                <a:latin typeface="Montserrat Medium" panose="00000600000000000000" pitchFamily="2" charset="-18"/>
              </a:rPr>
              <a:t>TAM</a:t>
            </a:r>
          </a:p>
        </p:txBody>
      </p:sp>
      <p:sp>
        <p:nvSpPr>
          <p:cNvPr id="8" name="Rectangle 18">
            <a:extLst>
              <a:ext uri="{FF2B5EF4-FFF2-40B4-BE49-F238E27FC236}">
                <a16:creationId xmlns:a16="http://schemas.microsoft.com/office/drawing/2014/main" id="{264E5707-DE6D-C67B-D51E-5B2AA6777209}"/>
              </a:ext>
            </a:extLst>
          </p:cNvPr>
          <p:cNvSpPr/>
          <p:nvPr/>
        </p:nvSpPr>
        <p:spPr>
          <a:xfrm>
            <a:off x="4524999" y="2595387"/>
            <a:ext cx="1749712" cy="3274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algn="ctr"/>
            <a:r>
              <a:rPr lang="en-US" sz="4000" b="1" dirty="0">
                <a:solidFill>
                  <a:srgbClr val="14CE9F"/>
                </a:solidFill>
                <a:latin typeface="Montserrat Medium" panose="00000600000000000000" pitchFamily="2" charset="-18"/>
              </a:rPr>
              <a:t>SAM</a:t>
            </a:r>
          </a:p>
        </p:txBody>
      </p:sp>
      <p:sp>
        <p:nvSpPr>
          <p:cNvPr id="13" name="Rectangle 18">
            <a:extLst>
              <a:ext uri="{FF2B5EF4-FFF2-40B4-BE49-F238E27FC236}">
                <a16:creationId xmlns:a16="http://schemas.microsoft.com/office/drawing/2014/main" id="{F2B13559-4AC2-6495-EE71-2C5386538B4B}"/>
              </a:ext>
            </a:extLst>
          </p:cNvPr>
          <p:cNvSpPr/>
          <p:nvPr/>
        </p:nvSpPr>
        <p:spPr>
          <a:xfrm>
            <a:off x="8239560" y="2587299"/>
            <a:ext cx="1701881" cy="330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algn="ctr"/>
            <a:r>
              <a:rPr lang="en-US" sz="4000" b="1" dirty="0">
                <a:solidFill>
                  <a:srgbClr val="14CE9F"/>
                </a:solidFill>
                <a:latin typeface="Montserrat Medium" panose="00000600000000000000" pitchFamily="2" charset="-18"/>
              </a:rPr>
              <a:t>SOM</a:t>
            </a:r>
          </a:p>
        </p:txBody>
      </p:sp>
    </p:spTree>
    <p:extLst>
      <p:ext uri="{BB962C8B-B14F-4D97-AF65-F5344CB8AC3E}">
        <p14:creationId xmlns:p14="http://schemas.microsoft.com/office/powerpoint/2010/main" val="271455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8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1150"/>
                                </p:stCondLst>
                                <p:childTnLst>
                                  <p:par>
                                    <p:cTn id="18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20" dur="5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8" grpId="0" animBg="1"/>
        </p:bldLst>
      </p:timing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B94D1DE-BD30-B86C-F513-C1BA70A0B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2" y="896522"/>
            <a:ext cx="9630406" cy="546100"/>
          </a:xfrm>
        </p:spPr>
        <p:txBody>
          <a:bodyPr>
            <a:normAutofit fontScale="90000"/>
          </a:bodyPr>
          <a:lstStyle/>
          <a:p>
            <a:r>
              <a:rPr lang="ru-RU" dirty="0"/>
              <a:t>Цифровая технология по генерации и тестирования </a:t>
            </a:r>
            <a:r>
              <a:rPr lang="en-US" dirty="0"/>
              <a:t>MVP </a:t>
            </a:r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C15D982-C37F-4C0D-8778-F0B9D75052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8812" y="2302387"/>
            <a:ext cx="5014494" cy="35619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63500"/>
          </a:effec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E8548CD-7D84-4F8A-B10F-DD236110229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7649"/>
          <a:stretch/>
        </p:blipFill>
        <p:spPr>
          <a:xfrm>
            <a:off x="6566192" y="2632331"/>
            <a:ext cx="4966996" cy="2902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5850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2e8c9af-b9bd-45d3-8a24-e0190071bf4c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6CB98C14184D0049A1ECD4B6EBA1F909" ma:contentTypeVersion="12" ma:contentTypeDescription="Создание документа." ma:contentTypeScope="" ma:versionID="1d3facb408bd9a2a0b40d741d5af274f">
  <xsd:schema xmlns:xsd="http://www.w3.org/2001/XMLSchema" xmlns:xs="http://www.w3.org/2001/XMLSchema" xmlns:p="http://schemas.microsoft.com/office/2006/metadata/properties" xmlns:ns3="52e8c9af-b9bd-45d3-8a24-e0190071bf4c" targetNamespace="http://schemas.microsoft.com/office/2006/metadata/properties" ma:root="true" ma:fieldsID="86bec41929071bc84f19dfb56361efc8" ns3:_="">
    <xsd:import namespace="52e8c9af-b9bd-45d3-8a24-e0190071bf4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e8c9af-b9bd-45d3-8a24-e0190071bf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E505034-C651-4F24-B22F-6A0C0C3C4D4C}">
  <ds:schemaRefs>
    <ds:schemaRef ds:uri="http://www.w3.org/XML/1998/namespace"/>
    <ds:schemaRef ds:uri="http://schemas.microsoft.com/office/2006/metadata/properties"/>
    <ds:schemaRef ds:uri="http://schemas.microsoft.com/office/infopath/2007/PartnerControls"/>
    <ds:schemaRef ds:uri="52e8c9af-b9bd-45d3-8a24-e0190071bf4c"/>
    <ds:schemaRef ds:uri="http://purl.org/dc/dcmitype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117B2A33-F549-4012-8C52-9EB03623D65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4840363-BF84-4FA9-A39C-846DDF3015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2e8c9af-b9bd-45d3-8a24-e0190071bf4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238</TotalTime>
  <Words>795</Words>
  <Application>Microsoft Office PowerPoint</Application>
  <PresentationFormat>Широкоэкранный</PresentationFormat>
  <Paragraphs>190</Paragraphs>
  <Slides>20</Slides>
  <Notes>14</Notes>
  <HiddenSlides>0</HiddenSlides>
  <MMClips>1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32" baseType="lpstr">
      <vt:lpstr>Arial</vt:lpstr>
      <vt:lpstr>Calibri</vt:lpstr>
      <vt:lpstr>Calibri Light</vt:lpstr>
      <vt:lpstr>Fira Sans</vt:lpstr>
      <vt:lpstr>Gabriela</vt:lpstr>
      <vt:lpstr>Montserrat</vt:lpstr>
      <vt:lpstr>Montserrat Light</vt:lpstr>
      <vt:lpstr>Montserrat Medium</vt:lpstr>
      <vt:lpstr>Montserrat SemiBold</vt:lpstr>
      <vt:lpstr>Times New Roman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ынок 1</vt:lpstr>
      <vt:lpstr>Цифровая технология по генерации и тестирования MVP </vt:lpstr>
      <vt:lpstr>Заинтересованные компании</vt:lpstr>
      <vt:lpstr>Рынок 2</vt:lpstr>
      <vt:lpstr>Бизнес-модель</vt:lpstr>
      <vt:lpstr>Финансовая модель</vt:lpstr>
      <vt:lpstr>Презентация PowerPoint</vt:lpstr>
      <vt:lpstr>Презентация PowerPoint</vt:lpstr>
      <vt:lpstr>Презентация PowerPoint</vt:lpstr>
      <vt:lpstr>Достижения</vt:lpstr>
      <vt:lpstr>Команда</vt:lpstr>
      <vt:lpstr>Команда экспертов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ary Tsarkova</dc:creator>
  <cp:lastModifiedBy>Mary Tsarkova</cp:lastModifiedBy>
  <cp:revision>12</cp:revision>
  <dcterms:created xsi:type="dcterms:W3CDTF">2023-07-12T06:58:02Z</dcterms:created>
  <dcterms:modified xsi:type="dcterms:W3CDTF">2023-07-19T12:43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CB98C14184D0049A1ECD4B6EBA1F909</vt:lpwstr>
  </property>
</Properties>
</file>